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1" r:id="rId4"/>
  </p:sldMasterIdLst>
  <p:notesMasterIdLst>
    <p:notesMasterId r:id="rId22"/>
  </p:notesMasterIdLst>
  <p:handoutMasterIdLst>
    <p:handoutMasterId r:id="rId23"/>
  </p:handoutMasterIdLst>
  <p:sldIdLst>
    <p:sldId id="256" r:id="rId5"/>
    <p:sldId id="257" r:id="rId6"/>
    <p:sldId id="273" r:id="rId7"/>
    <p:sldId id="274" r:id="rId8"/>
    <p:sldId id="258" r:id="rId9"/>
    <p:sldId id="259" r:id="rId10"/>
    <p:sldId id="260" r:id="rId11"/>
    <p:sldId id="261" r:id="rId12"/>
    <p:sldId id="269" r:id="rId13"/>
    <p:sldId id="262" r:id="rId14"/>
    <p:sldId id="263" r:id="rId15"/>
    <p:sldId id="264" r:id="rId16"/>
    <p:sldId id="265" r:id="rId17"/>
    <p:sldId id="270" r:id="rId18"/>
    <p:sldId id="271" r:id="rId19"/>
    <p:sldId id="272" r:id="rId20"/>
    <p:sldId id="266" r:id="rId21"/>
  </p:sldIdLst>
  <p:sldSz cx="12192000" cy="6858000"/>
  <p:notesSz cx="6819900" cy="99187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 Hornshøj-Schierbeck" initials="PH" lastIdx="3" clrIdx="0">
    <p:extLst>
      <p:ext uri="{19B8F6BF-5375-455C-9EA6-DF929625EA0E}">
        <p15:presenceInfo xmlns:p15="http://schemas.microsoft.com/office/powerpoint/2012/main" userId="S-1-5-21-1738030525-1541242273-316617838-20989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1B9B35-862A-46A3-B439-EF1EE6059E6B}" v="2" dt="2024-03-22T09:23:32.4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95" autoAdjust="0"/>
    <p:restoredTop sz="83484" autoAdjust="0"/>
  </p:normalViewPr>
  <p:slideViewPr>
    <p:cSldViewPr snapToGrid="0">
      <p:cViewPr varScale="1">
        <p:scale>
          <a:sx n="133" d="100"/>
          <a:sy n="133" d="100"/>
        </p:scale>
        <p:origin x="1824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792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r Hornshøj-Schierbeck" userId="2d8a56e8-22d6-4e5d-a8a4-5bf62f51e4d6" providerId="ADAL" clId="{BA1B9B35-862A-46A3-B439-EF1EE6059E6B}"/>
    <pc:docChg chg="undo redo custSel modSld">
      <pc:chgData name="Per Hornshøj-Schierbeck" userId="2d8a56e8-22d6-4e5d-a8a4-5bf62f51e4d6" providerId="ADAL" clId="{BA1B9B35-862A-46A3-B439-EF1EE6059E6B}" dt="2024-03-22T10:49:16.709" v="464" actId="20577"/>
      <pc:docMkLst>
        <pc:docMk/>
      </pc:docMkLst>
      <pc:sldChg chg="modSp mod">
        <pc:chgData name="Per Hornshøj-Schierbeck" userId="2d8a56e8-22d6-4e5d-a8a4-5bf62f51e4d6" providerId="ADAL" clId="{BA1B9B35-862A-46A3-B439-EF1EE6059E6B}" dt="2024-03-22T10:47:33.010" v="439" actId="20577"/>
        <pc:sldMkLst>
          <pc:docMk/>
          <pc:sldMk cId="2695204258" sldId="257"/>
        </pc:sldMkLst>
        <pc:spChg chg="mod">
          <ac:chgData name="Per Hornshøj-Schierbeck" userId="2d8a56e8-22d6-4e5d-a8a4-5bf62f51e4d6" providerId="ADAL" clId="{BA1B9B35-862A-46A3-B439-EF1EE6059E6B}" dt="2024-03-22T10:47:33.010" v="439" actId="20577"/>
          <ac:spMkLst>
            <pc:docMk/>
            <pc:sldMk cId="2695204258" sldId="257"/>
            <ac:spMk id="13" creationId="{00000000-0000-0000-0000-000000000000}"/>
          </ac:spMkLst>
        </pc:spChg>
      </pc:sldChg>
      <pc:sldChg chg="modNotesTx">
        <pc:chgData name="Per Hornshøj-Schierbeck" userId="2d8a56e8-22d6-4e5d-a8a4-5bf62f51e4d6" providerId="ADAL" clId="{BA1B9B35-862A-46A3-B439-EF1EE6059E6B}" dt="2024-03-22T10:46:06.526" v="265" actId="5793"/>
        <pc:sldMkLst>
          <pc:docMk/>
          <pc:sldMk cId="3047410708" sldId="258"/>
        </pc:sldMkLst>
      </pc:sldChg>
      <pc:sldChg chg="addSp delSp modSp mod delAnim modNotesTx">
        <pc:chgData name="Per Hornshøj-Schierbeck" userId="2d8a56e8-22d6-4e5d-a8a4-5bf62f51e4d6" providerId="ADAL" clId="{BA1B9B35-862A-46A3-B439-EF1EE6059E6B}" dt="2024-03-22T10:47:59.053" v="453" actId="20577"/>
        <pc:sldMkLst>
          <pc:docMk/>
          <pc:sldMk cId="3755838648" sldId="259"/>
        </pc:sldMkLst>
        <pc:spChg chg="mod">
          <ac:chgData name="Per Hornshøj-Schierbeck" userId="2d8a56e8-22d6-4e5d-a8a4-5bf62f51e4d6" providerId="ADAL" clId="{BA1B9B35-862A-46A3-B439-EF1EE6059E6B}" dt="2024-03-22T10:47:59.053" v="453" actId="20577"/>
          <ac:spMkLst>
            <pc:docMk/>
            <pc:sldMk cId="3755838648" sldId="259"/>
            <ac:spMk id="2" creationId="{00000000-0000-0000-0000-000000000000}"/>
          </ac:spMkLst>
        </pc:spChg>
        <pc:picChg chg="del">
          <ac:chgData name="Per Hornshøj-Schierbeck" userId="2d8a56e8-22d6-4e5d-a8a4-5bf62f51e4d6" providerId="ADAL" clId="{BA1B9B35-862A-46A3-B439-EF1EE6059E6B}" dt="2024-03-21T08:21:26.458" v="0" actId="478"/>
          <ac:picMkLst>
            <pc:docMk/>
            <pc:sldMk cId="3755838648" sldId="259"/>
            <ac:picMk id="7" creationId="{00000000-0000-0000-0000-000000000000}"/>
          </ac:picMkLst>
        </pc:picChg>
        <pc:picChg chg="add mod ord">
          <ac:chgData name="Per Hornshøj-Schierbeck" userId="2d8a56e8-22d6-4e5d-a8a4-5bf62f51e4d6" providerId="ADAL" clId="{BA1B9B35-862A-46A3-B439-EF1EE6059E6B}" dt="2024-03-21T10:54:48.225" v="11" actId="1076"/>
          <ac:picMkLst>
            <pc:docMk/>
            <pc:sldMk cId="3755838648" sldId="259"/>
            <ac:picMk id="8" creationId="{7F06C2FB-71AB-9CB4-8DEF-276DC835AC21}"/>
          </ac:picMkLst>
        </pc:picChg>
      </pc:sldChg>
      <pc:sldChg chg="addSp delSp modSp mod modAnim">
        <pc:chgData name="Per Hornshøj-Schierbeck" userId="2d8a56e8-22d6-4e5d-a8a4-5bf62f51e4d6" providerId="ADAL" clId="{BA1B9B35-862A-46A3-B439-EF1EE6059E6B}" dt="2024-03-22T10:45:35.364" v="263" actId="20577"/>
        <pc:sldMkLst>
          <pc:docMk/>
          <pc:sldMk cId="3973959986" sldId="260"/>
        </pc:sldMkLst>
        <pc:spChg chg="mod">
          <ac:chgData name="Per Hornshøj-Schierbeck" userId="2d8a56e8-22d6-4e5d-a8a4-5bf62f51e4d6" providerId="ADAL" clId="{BA1B9B35-862A-46A3-B439-EF1EE6059E6B}" dt="2024-03-22T10:45:35.364" v="263" actId="20577"/>
          <ac:spMkLst>
            <pc:docMk/>
            <pc:sldMk cId="3973959986" sldId="260"/>
            <ac:spMk id="4" creationId="{00000000-0000-0000-0000-000000000000}"/>
          </ac:spMkLst>
        </pc:spChg>
        <pc:picChg chg="del">
          <ac:chgData name="Per Hornshøj-Schierbeck" userId="2d8a56e8-22d6-4e5d-a8a4-5bf62f51e4d6" providerId="ADAL" clId="{BA1B9B35-862A-46A3-B439-EF1EE6059E6B}" dt="2024-03-22T10:40:55.962" v="182" actId="478"/>
          <ac:picMkLst>
            <pc:docMk/>
            <pc:sldMk cId="3973959986" sldId="260"/>
            <ac:picMk id="7" creationId="{00000000-0000-0000-0000-000000000000}"/>
          </ac:picMkLst>
        </pc:picChg>
        <pc:picChg chg="add mod">
          <ac:chgData name="Per Hornshøj-Schierbeck" userId="2d8a56e8-22d6-4e5d-a8a4-5bf62f51e4d6" providerId="ADAL" clId="{BA1B9B35-862A-46A3-B439-EF1EE6059E6B}" dt="2024-03-22T10:39:54.908" v="181" actId="1076"/>
          <ac:picMkLst>
            <pc:docMk/>
            <pc:sldMk cId="3973959986" sldId="260"/>
            <ac:picMk id="8" creationId="{192D9FB4-FA5C-BBD7-E424-840E761E527B}"/>
          </ac:picMkLst>
        </pc:picChg>
        <pc:picChg chg="add del mod">
          <ac:chgData name="Per Hornshøj-Schierbeck" userId="2d8a56e8-22d6-4e5d-a8a4-5bf62f51e4d6" providerId="ADAL" clId="{BA1B9B35-862A-46A3-B439-EF1EE6059E6B}" dt="2024-03-21T11:07:04.411" v="36" actId="478"/>
          <ac:picMkLst>
            <pc:docMk/>
            <pc:sldMk cId="3973959986" sldId="260"/>
            <ac:picMk id="8" creationId="{1E8AE9D1-3625-0305-A53D-94FD6BC11CC6}"/>
          </ac:picMkLst>
        </pc:picChg>
        <pc:picChg chg="add mod">
          <ac:chgData name="Per Hornshøj-Schierbeck" userId="2d8a56e8-22d6-4e5d-a8a4-5bf62f51e4d6" providerId="ADAL" clId="{BA1B9B35-862A-46A3-B439-EF1EE6059E6B}" dt="2024-03-22T10:41:17.458" v="186" actId="1076"/>
          <ac:picMkLst>
            <pc:docMk/>
            <pc:sldMk cId="3973959986" sldId="260"/>
            <ac:picMk id="10" creationId="{D35D364E-05F5-BA18-D8CA-32C1C230E6AC}"/>
          </ac:picMkLst>
        </pc:picChg>
        <pc:picChg chg="add del mod">
          <ac:chgData name="Per Hornshøj-Schierbeck" userId="2d8a56e8-22d6-4e5d-a8a4-5bf62f51e4d6" providerId="ADAL" clId="{BA1B9B35-862A-46A3-B439-EF1EE6059E6B}" dt="2024-03-21T11:09:35.542" v="41" actId="478"/>
          <ac:picMkLst>
            <pc:docMk/>
            <pc:sldMk cId="3973959986" sldId="260"/>
            <ac:picMk id="11" creationId="{3A82A64B-A7E9-3FE5-5A17-0F31E235CAC5}"/>
          </ac:picMkLst>
        </pc:picChg>
        <pc:picChg chg="add del mod">
          <ac:chgData name="Per Hornshøj-Schierbeck" userId="2d8a56e8-22d6-4e5d-a8a4-5bf62f51e4d6" providerId="ADAL" clId="{BA1B9B35-862A-46A3-B439-EF1EE6059E6B}" dt="2024-03-22T10:39:48.771" v="178" actId="478"/>
          <ac:picMkLst>
            <pc:docMk/>
            <pc:sldMk cId="3973959986" sldId="260"/>
            <ac:picMk id="13" creationId="{608C3C1B-F394-FBA3-8930-AD739DF76EB1}"/>
          </ac:picMkLst>
        </pc:picChg>
        <pc:picChg chg="del">
          <ac:chgData name="Per Hornshøj-Schierbeck" userId="2d8a56e8-22d6-4e5d-a8a4-5bf62f51e4d6" providerId="ADAL" clId="{BA1B9B35-862A-46A3-B439-EF1EE6059E6B}" dt="2024-03-21T11:00:30.113" v="13" actId="478"/>
          <ac:picMkLst>
            <pc:docMk/>
            <pc:sldMk cId="3973959986" sldId="260"/>
            <ac:picMk id="18" creationId="{00000000-0000-0000-0000-000000000000}"/>
          </ac:picMkLst>
        </pc:picChg>
        <pc:inkChg chg="add del">
          <ac:chgData name="Per Hornshøj-Schierbeck" userId="2d8a56e8-22d6-4e5d-a8a4-5bf62f51e4d6" providerId="ADAL" clId="{BA1B9B35-862A-46A3-B439-EF1EE6059E6B}" dt="2024-03-21T11:04:06.236" v="27" actId="478"/>
          <ac:inkMkLst>
            <pc:docMk/>
            <pc:sldMk cId="3973959986" sldId="260"/>
            <ac:inkMk id="10" creationId="{00000000-0000-0000-0000-000000000000}"/>
          </ac:inkMkLst>
        </pc:inkChg>
        <pc:inkChg chg="del">
          <ac:chgData name="Per Hornshøj-Schierbeck" userId="2d8a56e8-22d6-4e5d-a8a4-5bf62f51e4d6" providerId="ADAL" clId="{BA1B9B35-862A-46A3-B439-EF1EE6059E6B}" dt="2024-03-21T11:04:09.502" v="31" actId="478"/>
          <ac:inkMkLst>
            <pc:docMk/>
            <pc:sldMk cId="3973959986" sldId="260"/>
            <ac:inkMk id="14" creationId="{00000000-0000-0000-0000-000000000000}"/>
          </ac:inkMkLst>
        </pc:inkChg>
        <pc:inkChg chg="del">
          <ac:chgData name="Per Hornshøj-Schierbeck" userId="2d8a56e8-22d6-4e5d-a8a4-5bf62f51e4d6" providerId="ADAL" clId="{BA1B9B35-862A-46A3-B439-EF1EE6059E6B}" dt="2024-03-21T11:04:08.899" v="30" actId="478"/>
          <ac:inkMkLst>
            <pc:docMk/>
            <pc:sldMk cId="3973959986" sldId="260"/>
            <ac:inkMk id="15" creationId="{00000000-0000-0000-0000-000000000000}"/>
          </ac:inkMkLst>
        </pc:inkChg>
        <pc:inkChg chg="add del">
          <ac:chgData name="Per Hornshøj-Schierbeck" userId="2d8a56e8-22d6-4e5d-a8a4-5bf62f51e4d6" providerId="ADAL" clId="{BA1B9B35-862A-46A3-B439-EF1EE6059E6B}" dt="2024-03-21T11:04:06.952" v="28" actId="478"/>
          <ac:inkMkLst>
            <pc:docMk/>
            <pc:sldMk cId="3973959986" sldId="260"/>
            <ac:inkMk id="16" creationId="{00000000-0000-0000-0000-000000000000}"/>
          </ac:inkMkLst>
        </pc:inkChg>
        <pc:inkChg chg="add del">
          <ac:chgData name="Per Hornshøj-Schierbeck" userId="2d8a56e8-22d6-4e5d-a8a4-5bf62f51e4d6" providerId="ADAL" clId="{BA1B9B35-862A-46A3-B439-EF1EE6059E6B}" dt="2024-03-21T11:04:08.031" v="29" actId="478"/>
          <ac:inkMkLst>
            <pc:docMk/>
            <pc:sldMk cId="3973959986" sldId="260"/>
            <ac:inkMk id="17" creationId="{00000000-0000-0000-0000-000000000000}"/>
          </ac:inkMkLst>
        </pc:inkChg>
        <pc:inkChg chg="del">
          <ac:chgData name="Per Hornshøj-Schierbeck" userId="2d8a56e8-22d6-4e5d-a8a4-5bf62f51e4d6" providerId="ADAL" clId="{BA1B9B35-862A-46A3-B439-EF1EE6059E6B}" dt="2024-03-21T11:00:36.650" v="15" actId="478"/>
          <ac:inkMkLst>
            <pc:docMk/>
            <pc:sldMk cId="3973959986" sldId="260"/>
            <ac:inkMk id="19" creationId="{00000000-0000-0000-0000-000000000000}"/>
          </ac:inkMkLst>
        </pc:inkChg>
        <pc:inkChg chg="del">
          <ac:chgData name="Per Hornshøj-Schierbeck" userId="2d8a56e8-22d6-4e5d-a8a4-5bf62f51e4d6" providerId="ADAL" clId="{BA1B9B35-862A-46A3-B439-EF1EE6059E6B}" dt="2024-03-21T11:04:12.222" v="33" actId="478"/>
          <ac:inkMkLst>
            <pc:docMk/>
            <pc:sldMk cId="3973959986" sldId="260"/>
            <ac:inkMk id="21" creationId="{00000000-0000-0000-0000-000000000000}"/>
          </ac:inkMkLst>
        </pc:inkChg>
        <pc:inkChg chg="del">
          <ac:chgData name="Per Hornshøj-Schierbeck" userId="2d8a56e8-22d6-4e5d-a8a4-5bf62f51e4d6" providerId="ADAL" clId="{BA1B9B35-862A-46A3-B439-EF1EE6059E6B}" dt="2024-03-21T11:00:36.650" v="15" actId="478"/>
          <ac:inkMkLst>
            <pc:docMk/>
            <pc:sldMk cId="3973959986" sldId="260"/>
            <ac:inkMk id="23" creationId="{00000000-0000-0000-0000-000000000000}"/>
          </ac:inkMkLst>
        </pc:inkChg>
        <pc:inkChg chg="del">
          <ac:chgData name="Per Hornshøj-Schierbeck" userId="2d8a56e8-22d6-4e5d-a8a4-5bf62f51e4d6" providerId="ADAL" clId="{BA1B9B35-862A-46A3-B439-EF1EE6059E6B}" dt="2024-03-21T11:01:03.988" v="16" actId="478"/>
          <ac:inkMkLst>
            <pc:docMk/>
            <pc:sldMk cId="3973959986" sldId="260"/>
            <ac:inkMk id="24" creationId="{00000000-0000-0000-0000-000000000000}"/>
          </ac:inkMkLst>
        </pc:inkChg>
        <pc:inkChg chg="add del">
          <ac:chgData name="Per Hornshøj-Schierbeck" userId="2d8a56e8-22d6-4e5d-a8a4-5bf62f51e4d6" providerId="ADAL" clId="{BA1B9B35-862A-46A3-B439-EF1EE6059E6B}" dt="2024-03-21T11:04:05.038" v="26" actId="478"/>
          <ac:inkMkLst>
            <pc:docMk/>
            <pc:sldMk cId="3973959986" sldId="260"/>
            <ac:inkMk id="25" creationId="{00000000-0000-0000-0000-000000000000}"/>
          </ac:inkMkLst>
        </pc:inkChg>
        <pc:inkChg chg="del">
          <ac:chgData name="Per Hornshøj-Schierbeck" userId="2d8a56e8-22d6-4e5d-a8a4-5bf62f51e4d6" providerId="ADAL" clId="{BA1B9B35-862A-46A3-B439-EF1EE6059E6B}" dt="2024-03-21T11:04:10.286" v="32" actId="478"/>
          <ac:inkMkLst>
            <pc:docMk/>
            <pc:sldMk cId="3973959986" sldId="260"/>
            <ac:inkMk id="31" creationId="{00000000-0000-0000-0000-000000000000}"/>
          </ac:inkMkLst>
        </pc:inkChg>
        <pc:inkChg chg="del">
          <ac:chgData name="Per Hornshøj-Schierbeck" userId="2d8a56e8-22d6-4e5d-a8a4-5bf62f51e4d6" providerId="ADAL" clId="{BA1B9B35-862A-46A3-B439-EF1EE6059E6B}" dt="2024-03-21T11:00:32.764" v="14" actId="478"/>
          <ac:inkMkLst>
            <pc:docMk/>
            <pc:sldMk cId="3973959986" sldId="260"/>
            <ac:inkMk id="32" creationId="{00000000-0000-0000-0000-000000000000}"/>
          </ac:inkMkLst>
        </pc:inkChg>
        <pc:inkChg chg="del">
          <ac:chgData name="Per Hornshøj-Schierbeck" userId="2d8a56e8-22d6-4e5d-a8a4-5bf62f51e4d6" providerId="ADAL" clId="{BA1B9B35-862A-46A3-B439-EF1EE6059E6B}" dt="2024-03-21T11:01:04.948" v="17" actId="478"/>
          <ac:inkMkLst>
            <pc:docMk/>
            <pc:sldMk cId="3973959986" sldId="260"/>
            <ac:inkMk id="33" creationId="{00000000-0000-0000-0000-000000000000}"/>
          </ac:inkMkLst>
        </pc:inkChg>
      </pc:sldChg>
      <pc:sldChg chg="modSp mod">
        <pc:chgData name="Per Hornshøj-Schierbeck" userId="2d8a56e8-22d6-4e5d-a8a4-5bf62f51e4d6" providerId="ADAL" clId="{BA1B9B35-862A-46A3-B439-EF1EE6059E6B}" dt="2024-03-22T10:42:59.450" v="188" actId="20577"/>
        <pc:sldMkLst>
          <pc:docMk/>
          <pc:sldMk cId="3346793242" sldId="261"/>
        </pc:sldMkLst>
        <pc:spChg chg="mod">
          <ac:chgData name="Per Hornshøj-Schierbeck" userId="2d8a56e8-22d6-4e5d-a8a4-5bf62f51e4d6" providerId="ADAL" clId="{BA1B9B35-862A-46A3-B439-EF1EE6059E6B}" dt="2024-03-22T10:42:59.450" v="188" actId="20577"/>
          <ac:spMkLst>
            <pc:docMk/>
            <pc:sldMk cId="3346793242" sldId="261"/>
            <ac:spMk id="4" creationId="{00000000-0000-0000-0000-000000000000}"/>
          </ac:spMkLst>
        </pc:spChg>
      </pc:sldChg>
      <pc:sldChg chg="modSp mod">
        <pc:chgData name="Per Hornshøj-Schierbeck" userId="2d8a56e8-22d6-4e5d-a8a4-5bf62f51e4d6" providerId="ADAL" clId="{BA1B9B35-862A-46A3-B439-EF1EE6059E6B}" dt="2024-03-22T10:49:07.657" v="455" actId="20577"/>
        <pc:sldMkLst>
          <pc:docMk/>
          <pc:sldMk cId="994332142" sldId="264"/>
        </pc:sldMkLst>
        <pc:spChg chg="mod">
          <ac:chgData name="Per Hornshøj-Schierbeck" userId="2d8a56e8-22d6-4e5d-a8a4-5bf62f51e4d6" providerId="ADAL" clId="{BA1B9B35-862A-46A3-B439-EF1EE6059E6B}" dt="2024-03-22T10:49:07.657" v="455" actId="20577"/>
          <ac:spMkLst>
            <pc:docMk/>
            <pc:sldMk cId="994332142" sldId="264"/>
            <ac:spMk id="2" creationId="{00000000-0000-0000-0000-000000000000}"/>
          </ac:spMkLst>
        </pc:spChg>
      </pc:sldChg>
      <pc:sldChg chg="modSp mod">
        <pc:chgData name="Per Hornshøj-Schierbeck" userId="2d8a56e8-22d6-4e5d-a8a4-5bf62f51e4d6" providerId="ADAL" clId="{BA1B9B35-862A-46A3-B439-EF1EE6059E6B}" dt="2024-03-21T12:50:04.116" v="177" actId="6549"/>
        <pc:sldMkLst>
          <pc:docMk/>
          <pc:sldMk cId="2182140302" sldId="266"/>
        </pc:sldMkLst>
        <pc:spChg chg="mod">
          <ac:chgData name="Per Hornshøj-Schierbeck" userId="2d8a56e8-22d6-4e5d-a8a4-5bf62f51e4d6" providerId="ADAL" clId="{BA1B9B35-862A-46A3-B439-EF1EE6059E6B}" dt="2024-03-21T12:50:04.116" v="177" actId="6549"/>
          <ac:spMkLst>
            <pc:docMk/>
            <pc:sldMk cId="2182140302" sldId="266"/>
            <ac:spMk id="8" creationId="{00000000-0000-0000-0000-000000000000}"/>
          </ac:spMkLst>
        </pc:spChg>
      </pc:sldChg>
      <pc:sldChg chg="modSp mod">
        <pc:chgData name="Per Hornshøj-Schierbeck" userId="2d8a56e8-22d6-4e5d-a8a4-5bf62f51e4d6" providerId="ADAL" clId="{BA1B9B35-862A-46A3-B439-EF1EE6059E6B}" dt="2024-03-21T12:19:29.791" v="161" actId="13926"/>
        <pc:sldMkLst>
          <pc:docMk/>
          <pc:sldMk cId="2879015691" sldId="269"/>
        </pc:sldMkLst>
        <pc:spChg chg="mod">
          <ac:chgData name="Per Hornshøj-Schierbeck" userId="2d8a56e8-22d6-4e5d-a8a4-5bf62f51e4d6" providerId="ADAL" clId="{BA1B9B35-862A-46A3-B439-EF1EE6059E6B}" dt="2024-03-21T12:19:29.791" v="161" actId="13926"/>
          <ac:spMkLst>
            <pc:docMk/>
            <pc:sldMk cId="2879015691" sldId="269"/>
            <ac:spMk id="4" creationId="{00000000-0000-0000-0000-000000000000}"/>
          </ac:spMkLst>
        </pc:spChg>
      </pc:sldChg>
      <pc:sldChg chg="modSp mod modNotesTx">
        <pc:chgData name="Per Hornshøj-Schierbeck" userId="2d8a56e8-22d6-4e5d-a8a4-5bf62f51e4d6" providerId="ADAL" clId="{BA1B9B35-862A-46A3-B439-EF1EE6059E6B}" dt="2024-03-22T10:49:16.709" v="464" actId="20577"/>
        <pc:sldMkLst>
          <pc:docMk/>
          <pc:sldMk cId="601920269" sldId="270"/>
        </pc:sldMkLst>
        <pc:spChg chg="mod">
          <ac:chgData name="Per Hornshøj-Schierbeck" userId="2d8a56e8-22d6-4e5d-a8a4-5bf62f51e4d6" providerId="ADAL" clId="{BA1B9B35-862A-46A3-B439-EF1EE6059E6B}" dt="2024-03-22T10:49:16.709" v="464" actId="20577"/>
          <ac:spMkLst>
            <pc:docMk/>
            <pc:sldMk cId="601920269" sldId="270"/>
            <ac:spMk id="4" creationId="{00000000-0000-0000-0000-000000000000}"/>
          </ac:spMkLst>
        </pc:spChg>
      </pc:sldChg>
      <pc:sldChg chg="modSp mod">
        <pc:chgData name="Per Hornshøj-Schierbeck" userId="2d8a56e8-22d6-4e5d-a8a4-5bf62f51e4d6" providerId="ADAL" clId="{BA1B9B35-862A-46A3-B439-EF1EE6059E6B}" dt="2024-03-22T10:44:23.758" v="233" actId="20577"/>
        <pc:sldMkLst>
          <pc:docMk/>
          <pc:sldMk cId="599891721" sldId="272"/>
        </pc:sldMkLst>
        <pc:spChg chg="mod">
          <ac:chgData name="Per Hornshøj-Schierbeck" userId="2d8a56e8-22d6-4e5d-a8a4-5bf62f51e4d6" providerId="ADAL" clId="{BA1B9B35-862A-46A3-B439-EF1EE6059E6B}" dt="2024-03-22T10:44:23.758" v="233" actId="20577"/>
          <ac:spMkLst>
            <pc:docMk/>
            <pc:sldMk cId="599891721" sldId="272"/>
            <ac:spMk id="4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65138" y="156643"/>
            <a:ext cx="295529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574865" y="156643"/>
            <a:ext cx="277200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1000" smtClean="0"/>
              <a:pPr/>
              <a:t>3/22/2024</a:t>
            </a:fld>
            <a:endParaRPr lang="en-US" sz="10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65138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90865" y="9686094"/>
            <a:ext cx="2556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1000" smtClean="0"/>
              <a:pPr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69028814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34" userDrawn="1">
          <p15:clr>
            <a:srgbClr val="C35EA4"/>
          </p15:clr>
        </p15:guide>
        <p15:guide id="2" pos="3995" userDrawn="1">
          <p15:clr>
            <a:srgbClr val="C35EA4"/>
          </p15:clr>
        </p15:guide>
        <p15:guide id="3" orient="horz" pos="822" userDrawn="1">
          <p15:clr>
            <a:srgbClr val="C35EA4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560" max="2560" units="cm"/>
          <inkml:channel name="Y" type="integer" max="1449" units="cm"/>
          <inkml:channel name="T" type="integer" max="2.14748E9" units="dev"/>
        </inkml:traceFormat>
        <inkml:channelProperties>
          <inkml:channelProperty channel="X" name="resolution" value="85.76215" units="1/cm"/>
          <inkml:channelProperty channel="Y" name="resolution" value="43.125" units="1/cm"/>
          <inkml:channelProperty channel="T" name="resolution" value="1" units="1/dev"/>
        </inkml:channelProperties>
      </inkml:inkSource>
      <inkml:timestamp xml:id="ts0" timeString="2020-10-06T10:37:07.336"/>
    </inkml:context>
    <inkml:brush xml:id="br0">
      <inkml:brushProperty name="width" value="0.26667" units="cm"/>
      <inkml:brushProperty name="height" value="0.53333" units="cm"/>
      <inkml:brushProperty name="color" value="#FFFF00"/>
      <inkml:brushProperty name="tip" value="rectangle"/>
      <inkml:brushProperty name="rasterOp" value="maskPen"/>
      <inkml:brushProperty name="fitToCurve" value="1"/>
    </inkml:brush>
  </inkml:definitions>
  <inkml:trace contextRef="#ctx0" brushRef="#br0">-1 123 0,'22'0'125,"0"0"-125,45 0 15,-45 0 1,1 0-16,-1 0 16,67 0-16,-44 0 15,-1 0 1,1 0-1,22 0-15,-23-22 0,-22 22 16,23 0-16,-23 0 16,0 0-16,1 0 15,-1 0 17,0 0-17,45 0 1,-67-22-16,22 22 15,1 0 1,-1 0-16,0 0 31,1 0 16,-23-22-47,22 22 16,-22-23-1,67 23-15,-45 0 0,23 0 16,-1 0-16,-22 0 16,1 0-16,-1 0 31,0 0 16,0-22-47,1 22 15,21 0 32,-21 0 0,-1 0-31,0 0-1,0 0 48,1 0-47,-1 0-16,23 0 109,-23 0-93,0 0-1,0 0 1,1 0-1,-1 0 17,0 0 30,1 0-31,21 0 1,-22 0-17,1 0-15,-1 0 47,0 0-31,1 0-1,-1 0 17,22 0-17,-21 0 17,-1 0-32,0 0 15,-22 22-15,22-22 16,1 0 15,-1 0 47,23 0-47,-23 0 32,0 0 31,0 0-1,1 0-6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560" max="2560" units="cm"/>
          <inkml:channel name="Y" type="integer" max="1449" units="cm"/>
          <inkml:channel name="T" type="integer" max="2.14748E9" units="dev"/>
        </inkml:traceFormat>
        <inkml:channelProperties>
          <inkml:channelProperty channel="X" name="resolution" value="85.76215" units="1/cm"/>
          <inkml:channelProperty channel="Y" name="resolution" value="43.125" units="1/cm"/>
          <inkml:channelProperty channel="T" name="resolution" value="1" units="1/dev"/>
        </inkml:channelProperties>
      </inkml:inkSource>
      <inkml:timestamp xml:id="ts0" timeString="2020-10-06T10:37:11.221"/>
    </inkml:context>
    <inkml:brush xml:id="br0">
      <inkml:brushProperty name="width" value="0.26667" units="cm"/>
      <inkml:brushProperty name="height" value="0.53333" units="cm"/>
      <inkml:brushProperty name="color" value="#FFFF00"/>
      <inkml:brushProperty name="tip" value="rectangle"/>
      <inkml:brushProperty name="rasterOp" value="maskPen"/>
      <inkml:brushProperty name="fitToCurve" value="1"/>
    </inkml:brush>
  </inkml:definitions>
  <inkml:trace contextRef="#ctx0" brushRef="#br0">-1 84 0,'0'-22'78,"22"0"-62,0 22-1,0 0 17,1-22-32,43 22 15,24 0-15,-24 0 16,-21 0-16,89 0 15,-67 0 1,22 0-16,44 0 0,46 0 16,-157 0-16,67 0 15,-67 0-15,1 0 110,43 0-95,-21 0 17,-23 0-32,23 0 0,-23 0 15,0 0-15,1 0 31,-1 0-31,22 0 32,1 0-32,22 0 0,0 0 15,0 0 1,-45 0-16,-22 22 16,22-22-1,0 0 1,1 0-1,44 0-15,-45 0 16,0 0 93,0 0-93,1 0-16,-1 0 16,0 0 31,23 0-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429635" y="78718"/>
            <a:ext cx="2955290" cy="14400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000"/>
            </a:lvl1pPr>
          </a:lstStyle>
          <a:p>
            <a:fld id="{4AAE48C0-F8CF-41BB-AD86-35BC16D02E78}" type="datetimeFigureOut">
              <a:rPr lang="en-GB" smtClean="0"/>
              <a:pPr/>
              <a:t>22/03/202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34976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0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84926" y="9686094"/>
            <a:ext cx="2700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4976" y="4609578"/>
            <a:ext cx="5949950" cy="46847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474739" y="78718"/>
            <a:ext cx="2756758" cy="14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en-GB" dirty="0"/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944563"/>
            <a:ext cx="5949950" cy="3348037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96" userDrawn="1">
          <p15:clr>
            <a:srgbClr val="F26B43"/>
          </p15:clr>
        </p15:guide>
        <p15:guide id="2" orient="horz" pos="595" userDrawn="1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karma-runner.github.io/4.0/index.html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jasmine.github.io/" TargetMode="Externa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guide/pipes#custom-pipes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angular.io/guide/pipes#flyingheroespipe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01501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err="1"/>
              <a:t>Other</a:t>
            </a:r>
            <a:r>
              <a:rPr lang="da-DK" dirty="0"/>
              <a:t> </a:t>
            </a:r>
            <a:r>
              <a:rPr lang="da-DK" dirty="0" err="1"/>
              <a:t>Observables</a:t>
            </a:r>
            <a:r>
              <a:rPr lang="da-DK" dirty="0"/>
              <a:t> </a:t>
            </a:r>
            <a:r>
              <a:rPr lang="da-DK" dirty="0" err="1"/>
              <a:t>concepts</a:t>
            </a:r>
            <a:r>
              <a:rPr lang="da-DK" dirty="0"/>
              <a:t>:</a:t>
            </a:r>
            <a:r>
              <a:rPr lang="da-DK" baseline="0" dirty="0"/>
              <a:t> Hot/</a:t>
            </a:r>
            <a:r>
              <a:rPr lang="da-DK" baseline="0" dirty="0" err="1"/>
              <a:t>cold</a:t>
            </a:r>
            <a:r>
              <a:rPr lang="da-DK" baseline="0" dirty="0"/>
              <a:t>, </a:t>
            </a:r>
            <a:r>
              <a:rPr lang="da-DK" baseline="0" dirty="0" err="1"/>
              <a:t>replay</a:t>
            </a:r>
            <a:r>
              <a:rPr lang="da-DK" baseline="0" dirty="0"/>
              <a:t>/</a:t>
            </a:r>
            <a:r>
              <a:rPr lang="da-DK" baseline="0" dirty="0" err="1"/>
              <a:t>share</a:t>
            </a:r>
            <a:r>
              <a:rPr lang="da-DK" baseline="0" dirty="0"/>
              <a:t>, </a:t>
            </a:r>
            <a:r>
              <a:rPr lang="da-DK" baseline="0" dirty="0" err="1"/>
              <a:t>subject</a:t>
            </a:r>
            <a:endParaRPr lang="da-DK" baseline="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7018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Show </a:t>
            </a:r>
            <a:r>
              <a:rPr lang="da-DK" dirty="0" err="1"/>
              <a:t>example</a:t>
            </a:r>
            <a:r>
              <a:rPr lang="da-DK" dirty="0"/>
              <a:t> of</a:t>
            </a:r>
            <a:r>
              <a:rPr lang="da-DK" baseline="0" dirty="0"/>
              <a:t> </a:t>
            </a:r>
            <a:r>
              <a:rPr lang="da-DK" baseline="0" dirty="0" err="1"/>
              <a:t>using</a:t>
            </a:r>
            <a:r>
              <a:rPr lang="da-DK" baseline="0" dirty="0"/>
              <a:t> a </a:t>
            </a:r>
            <a:r>
              <a:rPr lang="da-DK" baseline="0" dirty="0" err="1"/>
              <a:t>Pipe</a:t>
            </a:r>
            <a:endParaRPr lang="da-DK" baseline="0" dirty="0"/>
          </a:p>
          <a:p>
            <a:r>
              <a:rPr lang="en-GB" dirty="0"/>
              <a:t>Import { </a:t>
            </a:r>
            <a:r>
              <a:rPr lang="en-GB" dirty="0" err="1"/>
              <a:t>ReactiveFormsModule</a:t>
            </a:r>
            <a:r>
              <a:rPr lang="en-GB" dirty="0"/>
              <a:t> } from '@angular/forms‘</a:t>
            </a:r>
          </a:p>
          <a:p>
            <a:r>
              <a:rPr lang="da-DK" dirty="0" err="1"/>
              <a:t>Explain</a:t>
            </a:r>
            <a:r>
              <a:rPr lang="da-DK" dirty="0"/>
              <a:t> </a:t>
            </a:r>
            <a:r>
              <a:rPr lang="da-DK" dirty="0" err="1"/>
              <a:t>value</a:t>
            </a:r>
            <a:r>
              <a:rPr lang="da-DK" baseline="0" dirty="0"/>
              <a:t> of learning </a:t>
            </a:r>
            <a:r>
              <a:rPr lang="da-DK" baseline="0" dirty="0" err="1"/>
              <a:t>RxJS</a:t>
            </a:r>
            <a:r>
              <a:rPr lang="da-DK" baseline="0" dirty="0"/>
              <a:t> or </a:t>
            </a:r>
            <a:r>
              <a:rPr lang="da-DK" baseline="0" dirty="0" err="1"/>
              <a:t>similar</a:t>
            </a:r>
            <a:r>
              <a:rPr lang="da-DK" baseline="0" dirty="0"/>
              <a:t> (</a:t>
            </a:r>
            <a:r>
              <a:rPr lang="da-DK" baseline="0" dirty="0" err="1"/>
              <a:t>mostjs</a:t>
            </a:r>
            <a:r>
              <a:rPr lang="da-DK" baseline="0" dirty="0"/>
              <a:t>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5970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err="1"/>
              <a:t>Bookmarking</a:t>
            </a:r>
            <a:endParaRPr lang="da-DK" dirty="0"/>
          </a:p>
          <a:p>
            <a:r>
              <a:rPr lang="da-DK" dirty="0" err="1"/>
              <a:t>Storing</a:t>
            </a:r>
            <a:r>
              <a:rPr lang="da-DK" baseline="0" dirty="0"/>
              <a:t> </a:t>
            </a:r>
            <a:r>
              <a:rPr lang="da-DK" baseline="0" dirty="0" err="1"/>
              <a:t>state</a:t>
            </a:r>
            <a:endParaRPr lang="da-DK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2465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err="1"/>
              <a:t>Evt</a:t>
            </a:r>
            <a:r>
              <a:rPr lang="en-GB" dirty="0"/>
              <a:t> </a:t>
            </a:r>
            <a:r>
              <a:rPr lang="en-GB" dirty="0" err="1"/>
              <a:t>nævn</a:t>
            </a:r>
            <a:r>
              <a:rPr lang="en-GB" dirty="0"/>
              <a:t> </a:t>
            </a:r>
            <a:r>
              <a:rPr lang="en-GB" dirty="0" err="1"/>
              <a:t>strukturelle</a:t>
            </a:r>
            <a:r>
              <a:rPr lang="en-GB" dirty="0"/>
              <a:t> </a:t>
            </a:r>
            <a:r>
              <a:rPr lang="en-GB" dirty="0" err="1"/>
              <a:t>direktiver</a:t>
            </a:r>
            <a:r>
              <a:rPr lang="en-GB" dirty="0"/>
              <a:t> – </a:t>
            </a:r>
            <a:r>
              <a:rPr lang="da-DK" sz="1000" dirty="0" err="1"/>
              <a:t>ngIf</a:t>
            </a:r>
            <a:r>
              <a:rPr lang="da-DK" sz="1000" dirty="0"/>
              <a:t>, </a:t>
            </a:r>
            <a:r>
              <a:rPr lang="da-DK" sz="1000" dirty="0" err="1"/>
              <a:t>ngFor</a:t>
            </a:r>
            <a:endParaRPr lang="da-DK" sz="1000" dirty="0"/>
          </a:p>
          <a:p>
            <a:pPr marL="0" indent="0">
              <a:buNone/>
            </a:pPr>
            <a:r>
              <a:rPr lang="en-GB" dirty="0"/>
              <a:t>https://angular.io/guide/cheatsheet</a:t>
            </a:r>
            <a:r>
              <a:rPr lang="da-DK" sz="1000" dirty="0"/>
              <a:t> - * </a:t>
            </a:r>
            <a:r>
              <a:rPr lang="en-US" b="0" i="0" dirty="0">
                <a:effectLst/>
                <a:latin typeface="Roboto" panose="02000000000000000000" pitchFamily="2" charset="0"/>
              </a:rPr>
              <a:t>turns the current element into an embedded templat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18246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13433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err="1"/>
              <a:t>Testrunner</a:t>
            </a:r>
            <a:r>
              <a:rPr lang="da-DK" dirty="0"/>
              <a:t> Karma: </a:t>
            </a:r>
            <a:r>
              <a:rPr lang="en-GB" dirty="0">
                <a:hlinkClick r:id="rId3"/>
              </a:rPr>
              <a:t>https://karma-runner.github.io/4.0/index.html</a:t>
            </a:r>
            <a:endParaRPr lang="en-GB" dirty="0"/>
          </a:p>
          <a:p>
            <a:r>
              <a:rPr lang="da-DK" dirty="0" err="1"/>
              <a:t>Behaviour</a:t>
            </a:r>
            <a:r>
              <a:rPr lang="da-DK" baseline="0" dirty="0"/>
              <a:t> driven test framework Jasmine: </a:t>
            </a:r>
            <a:r>
              <a:rPr lang="en-GB" dirty="0">
                <a:hlinkClick r:id="rId4"/>
              </a:rPr>
              <a:t>https://jasmine.github.io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92060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2173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3072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193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888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baseline="0" dirty="0" err="1">
                <a:sym typeface="Wingdings" panose="05000000000000000000" pitchFamily="2" charset="2"/>
              </a:rPr>
              <a:t>AngularJS</a:t>
            </a:r>
            <a:r>
              <a:rPr lang="da-DK" baseline="0" dirty="0">
                <a:sym typeface="Wingdings" panose="05000000000000000000" pitchFamily="2" charset="2"/>
              </a:rPr>
              <a:t>: 2010, </a:t>
            </a:r>
            <a:r>
              <a:rPr lang="da-DK" baseline="0" dirty="0" err="1">
                <a:sym typeface="Wingdings" panose="05000000000000000000" pitchFamily="2" charset="2"/>
              </a:rPr>
              <a:t>Angular</a:t>
            </a:r>
            <a:r>
              <a:rPr lang="da-DK" baseline="0" dirty="0">
                <a:sym typeface="Wingdings" panose="05000000000000000000" pitchFamily="2" charset="2"/>
              </a:rPr>
              <a:t>: 2015, </a:t>
            </a:r>
            <a:r>
              <a:rPr lang="da-DK" baseline="0" dirty="0" err="1">
                <a:sym typeface="Wingdings" panose="05000000000000000000" pitchFamily="2" charset="2"/>
              </a:rPr>
              <a:t>TypeScript</a:t>
            </a:r>
            <a:r>
              <a:rPr lang="da-DK" baseline="0" dirty="0">
                <a:sym typeface="Wingdings" panose="05000000000000000000" pitchFamily="2" charset="2"/>
              </a:rPr>
              <a:t> 2012</a:t>
            </a:r>
          </a:p>
          <a:p>
            <a:pPr marL="0" indent="0">
              <a:buNone/>
            </a:pPr>
            <a:endParaRPr lang="da-DK" baseline="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33838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Angular CLI – explain what it does</a:t>
            </a:r>
            <a:endParaRPr lang="en-GB" dirty="0"/>
          </a:p>
          <a:p>
            <a:r>
              <a:rPr lang="en-GB" dirty="0"/>
              <a:t>Property binding –highlight the complementary</a:t>
            </a:r>
            <a:r>
              <a:rPr lang="en-GB" baseline="0" dirty="0"/>
              <a:t> </a:t>
            </a:r>
            <a:r>
              <a:rPr lang="en-GB" dirty="0"/>
              <a:t>.</a:t>
            </a:r>
            <a:r>
              <a:rPr lang="en-GB" dirty="0" err="1"/>
              <a:t>ts</a:t>
            </a:r>
            <a:r>
              <a:rPr lang="en-GB" dirty="0"/>
              <a:t> and .html files</a:t>
            </a:r>
          </a:p>
          <a:p>
            <a:r>
              <a:rPr lang="en-GB" dirty="0"/>
              <a:t>binding to properties [property] instead of {{ data }} (interpolation)</a:t>
            </a:r>
          </a:p>
          <a:p>
            <a:r>
              <a:rPr lang="da-DK" dirty="0" err="1"/>
              <a:t>Emphasize</a:t>
            </a:r>
            <a:r>
              <a:rPr lang="da-DK" baseline="0" dirty="0"/>
              <a:t> importance of angular.io</a:t>
            </a:r>
          </a:p>
          <a:p>
            <a:r>
              <a:rPr lang="da-DK" baseline="0" dirty="0" err="1"/>
              <a:t>Explain</a:t>
            </a:r>
            <a:r>
              <a:rPr lang="da-DK" baseline="0" dirty="0"/>
              <a:t> NG </a:t>
            </a:r>
            <a:r>
              <a:rPr lang="da-DK" baseline="0" dirty="0" err="1"/>
              <a:t>focus</a:t>
            </a:r>
            <a:r>
              <a:rPr lang="da-DK" baseline="0" dirty="0"/>
              <a:t> on </a:t>
            </a:r>
            <a:r>
              <a:rPr lang="da-DK" baseline="0" dirty="0" err="1"/>
              <a:t>making</a:t>
            </a:r>
            <a:r>
              <a:rPr lang="da-DK" baseline="0" dirty="0"/>
              <a:t> it </a:t>
            </a:r>
            <a:r>
              <a:rPr lang="da-DK" baseline="0" dirty="0" err="1"/>
              <a:t>easier</a:t>
            </a:r>
            <a:r>
              <a:rPr lang="da-DK" baseline="0" dirty="0"/>
              <a:t> to </a:t>
            </a:r>
            <a:r>
              <a:rPr lang="da-DK" baseline="0" dirty="0" err="1"/>
              <a:t>use</a:t>
            </a:r>
            <a:r>
              <a:rPr lang="da-DK" baseline="0" dirty="0"/>
              <a:t> for new developers – </a:t>
            </a:r>
            <a:r>
              <a:rPr lang="da-DK" baseline="0" dirty="0" err="1"/>
              <a:t>example</a:t>
            </a:r>
            <a:r>
              <a:rPr lang="da-DK" baseline="0" dirty="0"/>
              <a:t> @for and @if </a:t>
            </a:r>
            <a:r>
              <a:rPr lang="da-DK" baseline="0" dirty="0" err="1"/>
              <a:t>instead</a:t>
            </a:r>
            <a:r>
              <a:rPr lang="da-DK" baseline="0" dirty="0"/>
              <a:t> of </a:t>
            </a:r>
            <a:r>
              <a:rPr lang="da-DK" baseline="0" dirty="0" err="1"/>
              <a:t>structural</a:t>
            </a:r>
            <a:r>
              <a:rPr lang="da-DK" baseline="0" dirty="0"/>
              <a:t> </a:t>
            </a:r>
            <a:r>
              <a:rPr lang="da-DK" baseline="0" dirty="0" err="1"/>
              <a:t>directiv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1950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VSC </a:t>
            </a:r>
            <a:r>
              <a:rPr lang="da-DK" dirty="0" err="1"/>
              <a:t>shortcut</a:t>
            </a:r>
            <a:r>
              <a:rPr lang="da-DK" dirty="0"/>
              <a:t> </a:t>
            </a:r>
            <a:r>
              <a:rPr lang="da-DK" dirty="0" err="1"/>
              <a:t>ctrl</a:t>
            </a:r>
            <a:r>
              <a:rPr lang="da-DK" dirty="0"/>
              <a:t>+.</a:t>
            </a:r>
          </a:p>
          <a:p>
            <a:r>
              <a:rPr lang="da-DK" dirty="0"/>
              <a:t>Husk</a:t>
            </a:r>
            <a:r>
              <a:rPr lang="da-DK" baseline="0" dirty="0"/>
              <a:t> fortæl om @Attributes (@Component, @Input, @Module, osv)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6111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usk opfordre til at bruge </a:t>
            </a:r>
            <a:r>
              <a:rPr lang="da-DK" dirty="0" err="1"/>
              <a:t>CLI’en</a:t>
            </a:r>
            <a:r>
              <a:rPr lang="da-DK" dirty="0"/>
              <a:t> til at oprette service/compon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44416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Custom </a:t>
            </a:r>
            <a:r>
              <a:rPr lang="da-DK" dirty="0" err="1"/>
              <a:t>pipes</a:t>
            </a:r>
            <a:r>
              <a:rPr lang="da-DK" dirty="0"/>
              <a:t>: </a:t>
            </a:r>
            <a:r>
              <a:rPr lang="en-GB" dirty="0">
                <a:hlinkClick r:id="rId3"/>
              </a:rPr>
              <a:t>https://angular.io/guide/pipes#custom-pipes</a:t>
            </a:r>
            <a:endParaRPr lang="en-GB" dirty="0"/>
          </a:p>
          <a:p>
            <a:pPr marL="0" indent="0">
              <a:buNone/>
            </a:pPr>
            <a:r>
              <a:rPr lang="en-GB" dirty="0">
                <a:hlinkClick r:id="rId4"/>
              </a:rPr>
              <a:t>https://angular.io/guide/pipes#flyingheroespipe</a:t>
            </a:r>
            <a:r>
              <a:rPr lang="en-GB" dirty="0"/>
              <a:t> (</a:t>
            </a:r>
            <a:r>
              <a:rPr lang="en-GB" dirty="0" err="1"/>
              <a:t>ng</a:t>
            </a:r>
            <a:r>
              <a:rPr lang="en-GB" baseline="0" dirty="0" err="1"/>
              <a:t>For</a:t>
            </a:r>
            <a:r>
              <a:rPr lang="en-GB" baseline="0" dirty="0"/>
              <a:t> filt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6644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 – Intern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presentation title – sub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tx2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 / date [</a:t>
            </a:r>
            <a:r>
              <a:rPr lang="en-GB" dirty="0" err="1"/>
              <a:t>dd</a:t>
            </a:r>
            <a:r>
              <a:rPr lang="en-GB" dirty="0"/>
              <a:t>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r>
              <a:rPr lang="en-GB" dirty="0"/>
              <a:t>]</a:t>
            </a:r>
          </a:p>
        </p:txBody>
      </p:sp>
      <p:pic>
        <p:nvPicPr>
          <p:cNvPr id="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484" y="253007"/>
            <a:ext cx="1646316" cy="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209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567" userDrawn="1">
          <p15:clr>
            <a:srgbClr val="F26B43"/>
          </p15:clr>
        </p15:guide>
        <p15:guide id="3" orient="horz" pos="3198" userDrawn="1">
          <p15:clr>
            <a:srgbClr val="F26B43"/>
          </p15:clr>
        </p15:guide>
        <p15:guide id="7" orient="horz" pos="3135" userDrawn="1">
          <p15:clr>
            <a:srgbClr val="F26B43"/>
          </p15:clr>
        </p15:guide>
        <p15:guide id="8" orient="horz" pos="3315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36360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284198" y="1522800"/>
            <a:ext cx="7488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284198" y="1800000"/>
            <a:ext cx="74880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478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9">
          <p15:clr>
            <a:srgbClr val="F26B43"/>
          </p15:clr>
        </p15:guide>
        <p15:guide id="2" orient="horz" pos="411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orient="horz" pos="4179" userDrawn="1">
          <p15:clr>
            <a:srgbClr val="F26B43"/>
          </p15:clr>
        </p15:guide>
        <p15:guide id="5" pos="2696">
          <p15:clr>
            <a:srgbClr val="F26B43"/>
          </p15:clr>
        </p15:guide>
        <p15:guide id="7" orient="horz" pos="1115">
          <p15:clr>
            <a:srgbClr val="F26B43"/>
          </p15:clr>
        </p15:guide>
        <p15:guide id="8" orient="horz" pos="4258">
          <p15:clr>
            <a:srgbClr val="F26B43"/>
          </p15:clr>
        </p15:guide>
        <p15:guide id="9" orient="horz" pos="1133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lef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7488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74880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8136198" y="1522800"/>
            <a:ext cx="3636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8136198" y="1800000"/>
            <a:ext cx="36360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980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pos="4996">
          <p15:clr>
            <a:srgbClr val="F26B43"/>
          </p15:clr>
        </p15:guide>
        <p15:guide id="5" pos="5124">
          <p15:clr>
            <a:srgbClr val="F26B43"/>
          </p15:clr>
        </p15:guide>
        <p15:guide id="7" orient="horz" pos="1115">
          <p15:clr>
            <a:srgbClr val="F26B43"/>
          </p15:clr>
        </p15:guide>
        <p15:guide id="8" orient="horz" pos="4258">
          <p15:clr>
            <a:srgbClr val="F26B43"/>
          </p15:clr>
        </p15:guide>
        <p15:guide id="9" orient="horz" pos="1133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36360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284198" y="1522800"/>
            <a:ext cx="3636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284198" y="1800000"/>
            <a:ext cx="36360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8136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8136198" y="1800000"/>
            <a:ext cx="36360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50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9">
          <p15:clr>
            <a:srgbClr val="F26B43"/>
          </p15:clr>
        </p15:guide>
        <p15:guide id="2" orient="horz" pos="411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pos="4996">
          <p15:clr>
            <a:srgbClr val="F26B43"/>
          </p15:clr>
        </p15:guide>
        <p15:guide id="6" pos="2696">
          <p15:clr>
            <a:srgbClr val="F26B43"/>
          </p15:clr>
        </p15:guide>
        <p15:guide id="7" pos="5124">
          <p15:clr>
            <a:srgbClr val="F26B43"/>
          </p15:clr>
        </p15:guide>
        <p15:guide id="10" orient="horz" pos="4258">
          <p15:clr>
            <a:srgbClr val="F26B43"/>
          </p15:clr>
        </p15:guide>
        <p15:guide id="11" orient="horz" pos="1115" userDrawn="1">
          <p15:clr>
            <a:srgbClr val="F26B43"/>
          </p15:clr>
        </p15:guide>
        <p15:guide id="12" orient="horz" pos="1133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5562000" cy="205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55620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5562000" cy="205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208998" y="1522800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208998" y="1800000"/>
            <a:ext cx="5562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6208998" y="4077169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6208998" y="4356000"/>
            <a:ext cx="5562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7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99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78">
          <p15:clr>
            <a:srgbClr val="F26B43"/>
          </p15:clr>
        </p15:guide>
        <p15:guide id="3" pos="3911">
          <p15:clr>
            <a:srgbClr val="F26B43"/>
          </p15:clr>
        </p15:guide>
        <p15:guide id="4" pos="3778">
          <p15:clr>
            <a:srgbClr val="F26B43"/>
          </p15:clr>
        </p15:guide>
        <p15:guide id="6" orient="horz" pos="2743">
          <p15:clr>
            <a:srgbClr val="F26B43"/>
          </p15:clr>
        </p15:guide>
        <p15:guide id="7" orient="horz" pos="410">
          <p15:clr>
            <a:srgbClr val="F26B43"/>
          </p15:clr>
        </p15:guide>
        <p15:guide id="8" orient="horz" pos="4258">
          <p15:clr>
            <a:srgbClr val="F26B43"/>
          </p15:clr>
        </p15:guide>
        <p15:guide id="9" orient="horz" pos="2724">
          <p15:clr>
            <a:srgbClr val="F26B43"/>
          </p15:clr>
        </p15:guide>
        <p15:guide id="10" orient="horz" pos="2568">
          <p15:clr>
            <a:srgbClr val="F26B43"/>
          </p15:clr>
        </p15:guide>
        <p15:guide id="11" orient="horz" pos="2428">
          <p15:clr>
            <a:srgbClr val="F26B43"/>
          </p15:clr>
        </p15:guide>
        <p15:guide id="12" orient="horz" pos="1133" userDrawn="1">
          <p15:clr>
            <a:srgbClr val="F26B43"/>
          </p15:clr>
        </p15:guide>
        <p15:guide id="13" orient="horz" pos="1115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26748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3205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320598" y="1800000"/>
            <a:ext cx="26748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2089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208998" y="1800000"/>
            <a:ext cx="26748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9097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9097398" y="1800000"/>
            <a:ext cx="26748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7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292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5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pos="3911">
          <p15:clr>
            <a:srgbClr val="F26B43"/>
          </p15:clr>
        </p15:guide>
        <p15:guide id="5" pos="2092">
          <p15:clr>
            <a:srgbClr val="F26B43"/>
          </p15:clr>
        </p15:guide>
        <p15:guide id="6" pos="3778">
          <p15:clr>
            <a:srgbClr val="F26B43"/>
          </p15:clr>
        </p15:guide>
        <p15:guide id="7" pos="5597">
          <p15:clr>
            <a:srgbClr val="F26B43"/>
          </p15:clr>
        </p15:guide>
        <p15:guide id="8" pos="5730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orient="horz" pos="410">
          <p15:clr>
            <a:srgbClr val="F26B43"/>
          </p15:clr>
        </p15:guide>
        <p15:guide id="11" orient="horz" pos="4258">
          <p15:clr>
            <a:srgbClr val="F26B43"/>
          </p15:clr>
        </p15:guide>
        <p15:guide id="12" orient="horz" pos="1115">
          <p15:clr>
            <a:srgbClr val="F26B43"/>
          </p15:clr>
        </p15:guide>
        <p15:guide id="13" orient="horz" pos="1133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3636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3636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3636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4284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4284198" y="1800000"/>
            <a:ext cx="3636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4284198" y="4077169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4284198" y="4356000"/>
            <a:ext cx="3636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8136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8136198" y="1800000"/>
            <a:ext cx="3636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36198" y="4077169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8136198" y="4356000"/>
            <a:ext cx="3636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643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9" userDrawn="1">
          <p15:clr>
            <a:srgbClr val="F26B43"/>
          </p15:clr>
        </p15:guide>
        <p15:guide id="2" orient="horz" pos="411" userDrawn="1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orient="horz" pos="4178" userDrawn="1">
          <p15:clr>
            <a:srgbClr val="F26B43"/>
          </p15:clr>
        </p15:guide>
        <p15:guide id="5" pos="4996" userDrawn="1">
          <p15:clr>
            <a:srgbClr val="F26B43"/>
          </p15:clr>
        </p15:guide>
        <p15:guide id="7" pos="2696" userDrawn="1">
          <p15:clr>
            <a:srgbClr val="F26B43"/>
          </p15:clr>
        </p15:guide>
        <p15:guide id="8" pos="5124" userDrawn="1">
          <p15:clr>
            <a:srgbClr val="F26B43"/>
          </p15:clr>
        </p15:guide>
        <p15:guide id="11" orient="horz" pos="2428" userDrawn="1">
          <p15:clr>
            <a:srgbClr val="F26B43"/>
          </p15:clr>
        </p15:guide>
        <p15:guide id="13" orient="horz" pos="958" userDrawn="1">
          <p15:clr>
            <a:srgbClr val="F26B43"/>
          </p15:clr>
        </p15:guide>
        <p15:guide id="14" orient="horz" pos="2568" userDrawn="1">
          <p15:clr>
            <a:srgbClr val="F26B43"/>
          </p15:clr>
        </p15:guide>
        <p15:guide id="19" orient="horz" pos="2724" userDrawn="1">
          <p15:clr>
            <a:srgbClr val="F26B43"/>
          </p15:clr>
        </p15:guide>
        <p15:guide id="20" orient="horz" pos="1115" userDrawn="1">
          <p15:clr>
            <a:srgbClr val="F26B43"/>
          </p15:clr>
        </p15:guide>
        <p15:guide id="22" orient="horz" pos="2743" userDrawn="1">
          <p15:clr>
            <a:srgbClr val="F26B43"/>
          </p15:clr>
        </p15:guide>
        <p15:guide id="23" orient="horz" pos="4258" userDrawn="1">
          <p15:clr>
            <a:srgbClr val="F26B43"/>
          </p15:clr>
        </p15:guide>
        <p15:guide id="24" orient="horz" pos="1133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5562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55620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5562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208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208398" y="1800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62083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6208398" y="4356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9097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9097398" y="1800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90973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9097398" y="4356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955200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7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134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78">
          <p15:clr>
            <a:srgbClr val="F26B43"/>
          </p15:clr>
        </p15:guide>
        <p15:guide id="3" pos="3911">
          <p15:clr>
            <a:srgbClr val="F26B43"/>
          </p15:clr>
        </p15:guide>
        <p15:guide id="4" pos="3778">
          <p15:clr>
            <a:srgbClr val="F26B43"/>
          </p15:clr>
        </p15:guide>
        <p15:guide id="5" pos="5597">
          <p15:clr>
            <a:srgbClr val="F26B43"/>
          </p15:clr>
        </p15:guide>
        <p15:guide id="6" pos="5730">
          <p15:clr>
            <a:srgbClr val="F26B43"/>
          </p15:clr>
        </p15:guide>
        <p15:guide id="7" orient="horz" pos="958">
          <p15:clr>
            <a:srgbClr val="F26B43"/>
          </p15:clr>
        </p15:guide>
        <p15:guide id="8" orient="horz" pos="2743">
          <p15:clr>
            <a:srgbClr val="F26B43"/>
          </p15:clr>
        </p15:guide>
        <p15:guide id="9" orient="horz" pos="410">
          <p15:clr>
            <a:srgbClr val="F26B43"/>
          </p15:clr>
        </p15:guide>
        <p15:guide id="10" orient="horz" pos="4258">
          <p15:clr>
            <a:srgbClr val="F26B43"/>
          </p15:clr>
        </p15:guide>
        <p15:guide id="11" orient="horz" pos="2724">
          <p15:clr>
            <a:srgbClr val="F26B43"/>
          </p15:clr>
        </p15:guide>
        <p15:guide id="12" orient="horz" pos="2568">
          <p15:clr>
            <a:srgbClr val="F26B43"/>
          </p15:clr>
        </p15:guide>
        <p15:guide id="13" orient="horz" pos="2428">
          <p15:clr>
            <a:srgbClr val="F26B43"/>
          </p15:clr>
        </p15:guide>
        <p15:guide id="14" orient="horz" pos="1115">
          <p15:clr>
            <a:srgbClr val="F26B43"/>
          </p15:clr>
        </p15:guide>
        <p15:guide id="15" orient="horz" pos="1133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3205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3320598" y="1800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33205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3320598" y="4356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6208997" y="1522800"/>
            <a:ext cx="5563199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6208997" y="1800000"/>
            <a:ext cx="5563199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6208997" y="4077169"/>
            <a:ext cx="5563199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6208997" y="4356000"/>
            <a:ext cx="5563199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955200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7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084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5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pos="3911">
          <p15:clr>
            <a:srgbClr val="F26B43"/>
          </p15:clr>
        </p15:guide>
        <p15:guide id="5" pos="2092">
          <p15:clr>
            <a:srgbClr val="F26B43"/>
          </p15:clr>
        </p15:guide>
        <p15:guide id="6" pos="3778">
          <p15:clr>
            <a:srgbClr val="F26B43"/>
          </p15:clr>
        </p15:guide>
        <p15:guide id="7" orient="horz" pos="958">
          <p15:clr>
            <a:srgbClr val="F26B43"/>
          </p15:clr>
        </p15:guide>
        <p15:guide id="8" orient="horz" pos="2743">
          <p15:clr>
            <a:srgbClr val="F26B43"/>
          </p15:clr>
        </p15:guide>
        <p15:guide id="9" orient="horz" pos="410">
          <p15:clr>
            <a:srgbClr val="F26B43"/>
          </p15:clr>
        </p15:guide>
        <p15:guide id="10" orient="horz" pos="4258">
          <p15:clr>
            <a:srgbClr val="F26B43"/>
          </p15:clr>
        </p15:guide>
        <p15:guide id="11" orient="horz" pos="2724">
          <p15:clr>
            <a:srgbClr val="F26B43"/>
          </p15:clr>
        </p15:guide>
        <p15:guide id="12" orient="horz" pos="2568">
          <p15:clr>
            <a:srgbClr val="F26B43"/>
          </p15:clr>
        </p15:guide>
        <p15:guide id="13" orient="horz" pos="2428">
          <p15:clr>
            <a:srgbClr val="F26B43"/>
          </p15:clr>
        </p15:guide>
        <p15:guide id="14" orient="horz" pos="1115">
          <p15:clr>
            <a:srgbClr val="F26B43"/>
          </p15:clr>
        </p15:guide>
        <p15:guide id="15" orient="horz" pos="1133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3205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3320598" y="1800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33205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3320598" y="4356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62089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6208998" y="1800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62089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6208998" y="4356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DESCRIPTION Placeholder 7"/>
          <p:cNvSpPr>
            <a:spLocks noGrp="1"/>
          </p:cNvSpPr>
          <p:nvPr>
            <p:ph type="body" sz="quarter" idx="83" hasCustomPrompt="1"/>
          </p:nvPr>
        </p:nvSpPr>
        <p:spPr>
          <a:xfrm>
            <a:off x="9097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84"/>
          </p:nvPr>
        </p:nvSpPr>
        <p:spPr>
          <a:xfrm>
            <a:off x="9097398" y="1800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0" name="DESCRIPTION Placeholder 8"/>
          <p:cNvSpPr>
            <a:spLocks noGrp="1"/>
          </p:cNvSpPr>
          <p:nvPr>
            <p:ph type="body" sz="quarter" idx="85" hasCustomPrompt="1"/>
          </p:nvPr>
        </p:nvSpPr>
        <p:spPr>
          <a:xfrm>
            <a:off x="90973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43" name="CONTENT Placeholder 8"/>
          <p:cNvSpPr>
            <a:spLocks noGrp="1"/>
          </p:cNvSpPr>
          <p:nvPr>
            <p:ph sz="quarter" idx="86"/>
          </p:nvPr>
        </p:nvSpPr>
        <p:spPr>
          <a:xfrm>
            <a:off x="9097398" y="4356000"/>
            <a:ext cx="26748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955200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7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934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57" userDrawn="1">
          <p15:clr>
            <a:srgbClr val="F26B43"/>
          </p15:clr>
        </p15:guide>
        <p15:guide id="3" orient="horz" pos="292" userDrawn="1">
          <p15:clr>
            <a:srgbClr val="F26B43"/>
          </p15:clr>
        </p15:guide>
        <p15:guide id="4" orient="horz" pos="4178" userDrawn="1">
          <p15:clr>
            <a:srgbClr val="F26B43"/>
          </p15:clr>
        </p15:guide>
        <p15:guide id="5" pos="3911" userDrawn="1">
          <p15:clr>
            <a:srgbClr val="F26B43"/>
          </p15:clr>
        </p15:guide>
        <p15:guide id="7" pos="2092" userDrawn="1">
          <p15:clr>
            <a:srgbClr val="F26B43"/>
          </p15:clr>
        </p15:guide>
        <p15:guide id="8" pos="3778" userDrawn="1">
          <p15:clr>
            <a:srgbClr val="F26B43"/>
          </p15:clr>
        </p15:guide>
        <p15:guide id="9" pos="5597" userDrawn="1">
          <p15:clr>
            <a:srgbClr val="F26B43"/>
          </p15:clr>
        </p15:guide>
        <p15:guide id="10" pos="5730" userDrawn="1">
          <p15:clr>
            <a:srgbClr val="F26B43"/>
          </p15:clr>
        </p15:guide>
        <p15:guide id="13" orient="horz" pos="958" userDrawn="1">
          <p15:clr>
            <a:srgbClr val="F26B43"/>
          </p15:clr>
        </p15:guide>
        <p15:guide id="14" orient="horz" pos="2743" userDrawn="1">
          <p15:clr>
            <a:srgbClr val="F26B43"/>
          </p15:clr>
        </p15:guide>
        <p15:guide id="16" orient="horz" pos="410" userDrawn="1">
          <p15:clr>
            <a:srgbClr val="F26B43"/>
          </p15:clr>
        </p15:guide>
        <p15:guide id="18" orient="horz" pos="4258" userDrawn="1">
          <p15:clr>
            <a:srgbClr val="F26B43"/>
          </p15:clr>
        </p15:guide>
        <p15:guide id="19" orient="horz" pos="2724" userDrawn="1">
          <p15:clr>
            <a:srgbClr val="F26B43"/>
          </p15:clr>
        </p15:guide>
        <p15:guide id="20" orient="horz" pos="2568" userDrawn="1">
          <p15:clr>
            <a:srgbClr val="F26B43"/>
          </p15:clr>
        </p15:guide>
        <p15:guide id="21" orient="horz" pos="2428" userDrawn="1">
          <p15:clr>
            <a:srgbClr val="F26B43"/>
          </p15:clr>
        </p15:guide>
        <p15:guide id="22" orient="horz" pos="1115" userDrawn="1">
          <p15:clr>
            <a:srgbClr val="F26B43"/>
          </p15:clr>
        </p15:guide>
        <p15:guide id="24" orient="horz" pos="1133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Dark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6696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1799" y="1522800"/>
            <a:ext cx="6696000" cy="246221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1798" y="1800000"/>
            <a:ext cx="6696001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6695601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>
                <a:solidFill>
                  <a:srgbClr val="E65A6D"/>
                </a:solidFill>
              </a:rPr>
              <a:t>dark</a:t>
            </a:r>
            <a:r>
              <a:rPr lang="en-GB" sz="1200" baseline="0" dirty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10458507" y="250748"/>
            <a:ext cx="1313691" cy="19812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35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0" userDrawn="1">
          <p15:clr>
            <a:srgbClr val="F26B43"/>
          </p15:clr>
        </p15:guide>
        <p15:guide id="2" orient="horz" pos="293">
          <p15:clr>
            <a:srgbClr val="F26B43"/>
          </p15:clr>
        </p15:guide>
        <p15:guide id="8" orient="horz" pos="111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  <p15:guide id="12" orient="horz" pos="4258" userDrawn="1">
          <p15:clr>
            <a:srgbClr val="F26B43"/>
          </p15:clr>
        </p15:guide>
        <p15:guide id="13" pos="4495" userDrawn="1">
          <p15:clr>
            <a:srgbClr val="F26B43"/>
          </p15:clr>
        </p15:guide>
        <p15:guide id="14" orient="horz" pos="1133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auto">
          <a:xfrm>
            <a:off x="1588" y="0"/>
            <a:ext cx="12188825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presentation title – sub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 / date [</a:t>
            </a:r>
            <a:r>
              <a:rPr lang="en-GB" dirty="0" err="1"/>
              <a:t>dd</a:t>
            </a:r>
            <a:r>
              <a:rPr lang="en-GB" dirty="0"/>
              <a:t>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r>
              <a:rPr lang="en-GB" dirty="0"/>
              <a:t>]</a:t>
            </a:r>
          </a:p>
        </p:txBody>
      </p:sp>
      <p:pic>
        <p:nvPicPr>
          <p:cNvPr id="6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6600" y="252000"/>
            <a:ext cx="1645200" cy="247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485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336" userDrawn="1">
          <p15:clr>
            <a:srgbClr val="F26B43"/>
          </p15:clr>
        </p15:guide>
        <p15:guide id="4" orient="horz" pos="2566" userDrawn="1">
          <p15:clr>
            <a:srgbClr val="F26B43"/>
          </p15:clr>
        </p15:guide>
        <p15:guide id="6" orient="horz" pos="3198" userDrawn="1">
          <p15:clr>
            <a:srgbClr val="F26B43"/>
          </p15:clr>
        </p15:guide>
        <p15:guide id="9" orient="horz" pos="3135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Light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6696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1799" y="1522800"/>
            <a:ext cx="669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1798" y="1800000"/>
            <a:ext cx="6696001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6695601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>
                <a:solidFill>
                  <a:srgbClr val="E65A6D"/>
                </a:solidFill>
              </a:rPr>
              <a:t>light</a:t>
            </a:r>
            <a:r>
              <a:rPr lang="en-GB" sz="1200" baseline="0" dirty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10458507" y="250748"/>
            <a:ext cx="1313691" cy="19812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937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0" userDrawn="1">
          <p15:clr>
            <a:srgbClr val="F26B43"/>
          </p15:clr>
        </p15:guide>
        <p15:guide id="2" orient="horz" pos="293">
          <p15:clr>
            <a:srgbClr val="F26B43"/>
          </p15:clr>
        </p15:guide>
        <p15:guide id="8" orient="horz" pos="111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  <p15:guide id="12" orient="horz" pos="4258" userDrawn="1">
          <p15:clr>
            <a:srgbClr val="F26B43"/>
          </p15:clr>
        </p15:guide>
        <p15:guide id="13" pos="4495" userDrawn="1">
          <p15:clr>
            <a:srgbClr val="F26B43"/>
          </p15:clr>
        </p15:guide>
        <p15:guide id="14" orient="horz" pos="1133" userDrawn="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424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i="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137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291" userDrawn="1">
          <p15:clr>
            <a:srgbClr val="F26B43"/>
          </p15:clr>
        </p15:guide>
        <p15:guide id="16" orient="horz" pos="410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7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347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Midnigh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 dirty="0"/>
              <a:t>Click to add section divider</a:t>
            </a:r>
          </a:p>
        </p:txBody>
      </p:sp>
      <p:pic>
        <p:nvPicPr>
          <p:cNvPr id="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7954" y="250748"/>
            <a:ext cx="1313846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657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77" userDrawn="1">
          <p15:clr>
            <a:srgbClr val="F26B43"/>
          </p15:clr>
        </p15:guide>
        <p15:guide id="2" orient="horz" pos="2969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Sky blue"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 dirty="0"/>
              <a:t>Click to add section divider</a:t>
            </a:r>
          </a:p>
        </p:txBody>
      </p:sp>
      <p:pic>
        <p:nvPicPr>
          <p:cNvPr id="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333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69" userDrawn="1">
          <p15:clr>
            <a:srgbClr val="F26B43"/>
          </p15:clr>
        </p15:guide>
        <p15:guide id="4" orient="horz" pos="2378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 dirty="0"/>
              <a:t>Click to add section divider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>
                <a:solidFill>
                  <a:srgbClr val="E65A6D"/>
                </a:solidFill>
              </a:rPr>
              <a:t>dark</a:t>
            </a:r>
            <a:r>
              <a:rPr lang="en-GB" sz="1200" baseline="0" dirty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7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10458507" y="250748"/>
            <a:ext cx="1313691" cy="19812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8859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9" userDrawn="1">
          <p15:clr>
            <a:srgbClr val="F26B43"/>
          </p15:clr>
        </p15:guide>
        <p15:guide id="2" orient="horz" pos="2378" userDrawn="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 dirty="0"/>
              <a:t>Click to add section divider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>
                <a:solidFill>
                  <a:srgbClr val="E65A6D"/>
                </a:solidFill>
              </a:rPr>
              <a:t>light</a:t>
            </a:r>
            <a:r>
              <a:rPr lang="en-GB" sz="1200" baseline="0" dirty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7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10458507" y="250748"/>
            <a:ext cx="1313691" cy="19812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521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69" userDrawn="1">
          <p15:clr>
            <a:srgbClr val="F26B43"/>
          </p15:clr>
        </p15:guide>
        <p15:guide id="2" orient="horz" pos="2378" userDrawn="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9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849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>
                <a:solidFill>
                  <a:srgbClr val="E65A6D"/>
                </a:solidFill>
              </a:rPr>
              <a:t>dark</a:t>
            </a:r>
            <a:r>
              <a:rPr lang="en-GB" sz="1200" baseline="0" dirty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10458507" y="250748"/>
            <a:ext cx="1313691" cy="19812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7252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>
                <a:solidFill>
                  <a:srgbClr val="E65A6D"/>
                </a:solidFill>
              </a:rPr>
              <a:t>light</a:t>
            </a:r>
            <a:r>
              <a:rPr lang="en-GB" sz="1200" baseline="0" dirty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10" name="Danske Bank LOGO"/>
          <p:cNvSpPr>
            <a:spLocks noGrp="1"/>
          </p:cNvSpPr>
          <p:nvPr>
            <p:ph type="body" sz="quarter" idx="74" hasCustomPrompt="1"/>
          </p:nvPr>
        </p:nvSpPr>
        <p:spPr>
          <a:xfrm>
            <a:off x="10458507" y="250748"/>
            <a:ext cx="1313691" cy="19812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401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495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 – Sky blue"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PATTERN"/>
          <p:cNvGrpSpPr>
            <a:grpSpLocks noChangeAspect="1"/>
          </p:cNvGrpSpPr>
          <p:nvPr userDrawn="1"/>
        </p:nvGrpSpPr>
        <p:grpSpPr bwMode="auto">
          <a:xfrm>
            <a:off x="1588" y="0"/>
            <a:ext cx="12188825" cy="6858000"/>
            <a:chOff x="1" y="0"/>
            <a:chExt cx="7678" cy="4320"/>
          </a:xfrm>
          <a:solidFill>
            <a:srgbClr val="CDE3ED"/>
          </a:solidFill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presentation title – sub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tx2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 / date [</a:t>
            </a:r>
            <a:r>
              <a:rPr lang="en-GB" dirty="0" err="1"/>
              <a:t>dd</a:t>
            </a:r>
            <a:r>
              <a:rPr lang="en-GB" dirty="0"/>
              <a:t>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r>
              <a:rPr lang="en-GB" dirty="0"/>
              <a:t>]</a:t>
            </a:r>
          </a:p>
        </p:txBody>
      </p:sp>
      <p:pic>
        <p:nvPicPr>
          <p:cNvPr id="4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484" y="253007"/>
            <a:ext cx="1646316" cy="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553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67">
          <p15:clr>
            <a:srgbClr val="F26B43"/>
          </p15:clr>
        </p15:guide>
        <p15:guide id="2" orient="horz" pos="3198">
          <p15:clr>
            <a:srgbClr val="F26B43"/>
          </p15:clr>
        </p15:guide>
        <p15:guide id="3" orient="horz" pos="3135">
          <p15:clr>
            <a:srgbClr val="F26B43"/>
          </p15:clr>
        </p15:guide>
        <p15:guide id="4" orient="horz" pos="3315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&gt;&gt;Do not use layouts after thi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use"/>
          <p:cNvSpPr txBox="1"/>
          <p:nvPr userDrawn="1"/>
        </p:nvSpPr>
        <p:spPr>
          <a:xfrm>
            <a:off x="1627863" y="2099405"/>
            <a:ext cx="8936275" cy="26591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fontAlgn="auto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3600" b="1" noProof="0" dirty="0">
                <a:solidFill>
                  <a:schemeClr val="bg1"/>
                </a:solidFill>
              </a:rPr>
              <a:t>If you see any layouts after this, </a:t>
            </a:r>
            <a:r>
              <a:rPr lang="en-US" sz="3600" b="1" noProof="0" dirty="0">
                <a:solidFill>
                  <a:srgbClr val="E65A6D"/>
                </a:solidFill>
              </a:rPr>
              <a:t>DO NOT </a:t>
            </a:r>
            <a:br>
              <a:rPr lang="en-US" sz="3600" b="1" noProof="0" dirty="0">
                <a:solidFill>
                  <a:srgbClr val="E65A6D"/>
                </a:solidFill>
              </a:rPr>
            </a:br>
            <a:r>
              <a:rPr lang="en-US" sz="3600" b="1" noProof="0" dirty="0">
                <a:solidFill>
                  <a:schemeClr val="bg1"/>
                </a:solidFill>
              </a:rPr>
              <a:t>use these. The layouts have been copied from other templates at some point and are not part of Danske Bank’s official template.</a:t>
            </a:r>
            <a:endParaRPr lang="en-GB" sz="3600" baseline="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420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bIns="0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presentation title – sub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 / date [</a:t>
            </a:r>
            <a:r>
              <a:rPr lang="en-GB" dirty="0" err="1"/>
              <a:t>dd</a:t>
            </a:r>
            <a:r>
              <a:rPr lang="en-GB" dirty="0"/>
              <a:t>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r>
              <a:rPr lang="en-GB" dirty="0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>
                <a:solidFill>
                  <a:srgbClr val="E65A6D"/>
                </a:solidFill>
              </a:rPr>
              <a:t>dark</a:t>
            </a:r>
            <a:r>
              <a:rPr lang="en-GB" sz="1200" baseline="0" dirty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8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10126600" y="253007"/>
            <a:ext cx="1645200" cy="24652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44463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3300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566" userDrawn="1">
          <p15:clr>
            <a:srgbClr val="F26B43"/>
          </p15:clr>
        </p15:guide>
        <p15:guide id="3" orient="horz" pos="3198" userDrawn="1">
          <p15:clr>
            <a:srgbClr val="F26B43"/>
          </p15:clr>
        </p15:guide>
        <p15:guide id="5" orient="horz" pos="3135" userDrawn="1">
          <p15:clr>
            <a:srgbClr val="F26B43"/>
          </p15:clr>
        </p15:guide>
        <p15:guide id="8" orient="horz" pos="3315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rgbClr val="003755"/>
                </a:solidFill>
              </a:defRPr>
            </a:lvl1pPr>
          </a:lstStyle>
          <a:p>
            <a:r>
              <a:rPr lang="en-GB" dirty="0"/>
              <a:t>Click to add presentation title – sub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 / date [</a:t>
            </a:r>
            <a:r>
              <a:rPr lang="en-GB" dirty="0" err="1"/>
              <a:t>dd</a:t>
            </a:r>
            <a:r>
              <a:rPr lang="en-GB" dirty="0"/>
              <a:t>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r>
              <a:rPr lang="en-GB" dirty="0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>
                <a:solidFill>
                  <a:srgbClr val="E65A6D"/>
                </a:solidFill>
              </a:rPr>
              <a:t>light</a:t>
            </a:r>
            <a:r>
              <a:rPr lang="en-GB" sz="1200" baseline="0" dirty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  <p:sp>
        <p:nvSpPr>
          <p:cNvPr id="8" name="Danske Bank LOGO"/>
          <p:cNvSpPr>
            <a:spLocks noGrp="1"/>
          </p:cNvSpPr>
          <p:nvPr>
            <p:ph type="body" sz="quarter" idx="11" hasCustomPrompt="1"/>
          </p:nvPr>
        </p:nvSpPr>
        <p:spPr>
          <a:xfrm>
            <a:off x="10126600" y="253007"/>
            <a:ext cx="1645200" cy="24652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  <a:lvl2pPr marL="144463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8708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5" userDrawn="1">
          <p15:clr>
            <a:srgbClr val="F26B43"/>
          </p15:clr>
        </p15:guide>
        <p15:guide id="2" orient="horz" pos="3198" userDrawn="1">
          <p15:clr>
            <a:srgbClr val="F26B43"/>
          </p15:clr>
        </p15:guide>
        <p15:guide id="3" orient="horz" pos="3315" userDrawn="1">
          <p15:clr>
            <a:srgbClr val="F26B43"/>
          </p15:clr>
        </p15:guide>
        <p15:guide id="4" orient="horz" pos="2567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522800"/>
            <a:ext cx="11340000" cy="4878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2" name="Date Placeholder"/>
          <p:cNvSpPr>
            <a:spLocks noGrp="1"/>
          </p:cNvSpPr>
          <p:nvPr>
            <p:ph type="dt" sz="half" idx="69"/>
          </p:nvPr>
        </p:nvSpPr>
        <p:spPr>
          <a:xfrm>
            <a:off x="432197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3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739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11" userDrawn="1">
          <p15:clr>
            <a:srgbClr val="F26B43"/>
          </p15:clr>
        </p15:guide>
        <p15:guide id="3" orient="horz" pos="293" userDrawn="1">
          <p15:clr>
            <a:srgbClr val="F26B43"/>
          </p15:clr>
        </p15:guide>
        <p15:guide id="16" orient="horz" pos="4178" userDrawn="1">
          <p15:clr>
            <a:srgbClr val="F26B43"/>
          </p15:clr>
        </p15:guide>
        <p15:guide id="17" orient="horz" pos="4258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escri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11340000" cy="246221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113400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2" name="Date Placeholder"/>
          <p:cNvSpPr>
            <a:spLocks noGrp="1"/>
          </p:cNvSpPr>
          <p:nvPr>
            <p:ph type="dt" sz="half" idx="69"/>
          </p:nvPr>
        </p:nvSpPr>
        <p:spPr>
          <a:xfrm>
            <a:off x="432197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3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86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1133" userDrawn="1">
          <p15:clr>
            <a:srgbClr val="F26B43"/>
          </p15:clr>
        </p15:guide>
        <p15:guide id="1" orient="horz" pos="411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1115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4258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55584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55584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6213798" y="1522800"/>
            <a:ext cx="55584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6213798" y="1800000"/>
            <a:ext cx="5558400" cy="460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15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72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92">
          <p15:clr>
            <a:srgbClr val="F26B43"/>
          </p15:clr>
        </p15:guide>
        <p15:guide id="6" pos="3776" userDrawn="1">
          <p15:clr>
            <a:srgbClr val="F26B43"/>
          </p15:clr>
        </p15:guide>
        <p15:guide id="12" orient="horz" pos="411" userDrawn="1">
          <p15:clr>
            <a:srgbClr val="F26B43"/>
          </p15:clr>
        </p15:guide>
        <p15:guide id="13" orient="horz" pos="889" userDrawn="1">
          <p15:clr>
            <a:srgbClr val="F26B43"/>
          </p15:clr>
        </p15:guide>
        <p15:guide id="15" orient="horz" pos="4178" userDrawn="1">
          <p15:clr>
            <a:srgbClr val="F26B43"/>
          </p15:clr>
        </p15:guide>
        <p15:guide id="16" orient="horz" pos="4258" userDrawn="1">
          <p15:clr>
            <a:srgbClr val="F26B43"/>
          </p15:clr>
        </p15:guide>
        <p15:guide id="17" orient="horz" pos="1115" userDrawn="1">
          <p15:clr>
            <a:srgbClr val="F26B43"/>
          </p15:clr>
        </p15:guide>
        <p15:guide id="18" pos="3914" userDrawn="1">
          <p15:clr>
            <a:srgbClr val="F26B43"/>
          </p15:clr>
        </p15:guide>
        <p15:guide id="19" orient="horz" pos="1133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11340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11340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113400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11340000" cy="20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pic>
        <p:nvPicPr>
          <p:cNvPr id="27" name="Danske Bank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917" y="250748"/>
            <a:ext cx="1312281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44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78">
          <p15:clr>
            <a:srgbClr val="F26B43"/>
          </p15:clr>
        </p15:guide>
        <p15:guide id="4" orient="horz" pos="2743">
          <p15:clr>
            <a:srgbClr val="F26B43"/>
          </p15:clr>
        </p15:guide>
        <p15:guide id="5" orient="horz" pos="410">
          <p15:clr>
            <a:srgbClr val="F26B43"/>
          </p15:clr>
        </p15:guide>
        <p15:guide id="6" orient="horz" pos="4258">
          <p15:clr>
            <a:srgbClr val="F26B43"/>
          </p15:clr>
        </p15:guide>
        <p15:guide id="7" orient="horz" pos="2724">
          <p15:clr>
            <a:srgbClr val="F26B43"/>
          </p15:clr>
        </p15:guide>
        <p15:guide id="8" orient="horz" pos="2568">
          <p15:clr>
            <a:srgbClr val="F26B43"/>
          </p15:clr>
        </p15:guide>
        <p15:guide id="9" orient="horz" pos="2428">
          <p15:clr>
            <a:srgbClr val="F26B43"/>
          </p15:clr>
        </p15:guide>
        <p15:guide id="10" orient="horz" pos="1115">
          <p15:clr>
            <a:srgbClr val="F26B43"/>
          </p15:clr>
        </p15:guide>
        <p15:guide id="11" orient="horz" pos="1133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placeholder 1"/>
          <p:cNvSpPr>
            <a:spLocks noGrp="1"/>
          </p:cNvSpPr>
          <p:nvPr>
            <p:ph type="title"/>
          </p:nvPr>
        </p:nvSpPr>
        <p:spPr>
          <a:xfrm>
            <a:off x="432198" y="727199"/>
            <a:ext cx="11340000" cy="68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add Slide Title – increase font size for large audience – max. two lines</a:t>
            </a:r>
            <a:endParaRPr lang="en-GB" noProof="0" dirty="0"/>
          </a:p>
        </p:txBody>
      </p:sp>
      <p:sp>
        <p:nvSpPr>
          <p:cNvPr id="5" name="TEXT placeholder 1"/>
          <p:cNvSpPr>
            <a:spLocks noGrp="1"/>
          </p:cNvSpPr>
          <p:nvPr>
            <p:ph type="body" idx="1"/>
          </p:nvPr>
        </p:nvSpPr>
        <p:spPr>
          <a:xfrm>
            <a:off x="432197" y="1522800"/>
            <a:ext cx="11340000" cy="487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31" name="FOOTER placeholder"/>
          <p:cNvSpPr>
            <a:spLocks noGrp="1"/>
          </p:cNvSpPr>
          <p:nvPr>
            <p:ph type="ftr" sz="quarter" idx="3"/>
          </p:nvPr>
        </p:nvSpPr>
        <p:spPr>
          <a:xfrm>
            <a:off x="8155320" y="6649625"/>
            <a:ext cx="3276000" cy="107722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>
              <a:defRPr lang="en-GB" sz="700" spc="10" baseline="0">
                <a:solidFill>
                  <a:srgbClr val="7B8185"/>
                </a:solidFill>
                <a:latin typeface="+mn-lt"/>
              </a:defRPr>
            </a:lvl1pPr>
          </a:lstStyle>
          <a:p>
            <a:endParaRPr lang="da-DK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2"/>
          </p:nvPr>
        </p:nvSpPr>
        <p:spPr>
          <a:xfrm>
            <a:off x="432197" y="6956422"/>
            <a:ext cx="20880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247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803" r:id="rId3"/>
    <p:sldLayoutId id="2147483731" r:id="rId4"/>
    <p:sldLayoutId id="2147483772" r:id="rId5"/>
    <p:sldLayoutId id="2147483789" r:id="rId6"/>
    <p:sldLayoutId id="2147483802" r:id="rId7"/>
    <p:sldLayoutId id="2147483788" r:id="rId8"/>
    <p:sldLayoutId id="2147483801" r:id="rId9"/>
    <p:sldLayoutId id="2147483800" r:id="rId10"/>
    <p:sldLayoutId id="2147483799" r:id="rId11"/>
    <p:sldLayoutId id="2147483798" r:id="rId12"/>
    <p:sldLayoutId id="2147483797" r:id="rId13"/>
    <p:sldLayoutId id="2147483796" r:id="rId14"/>
    <p:sldLayoutId id="2147483779" r:id="rId15"/>
    <p:sldLayoutId id="2147483795" r:id="rId16"/>
    <p:sldLayoutId id="2147483794" r:id="rId17"/>
    <p:sldLayoutId id="2147483776" r:id="rId18"/>
    <p:sldLayoutId id="2147483792" r:id="rId19"/>
    <p:sldLayoutId id="2147483793" r:id="rId20"/>
    <p:sldLayoutId id="2147483724" r:id="rId21"/>
    <p:sldLayoutId id="2147483782" r:id="rId22"/>
    <p:sldLayoutId id="2147483728" r:id="rId23"/>
    <p:sldLayoutId id="2147483729" r:id="rId24"/>
    <p:sldLayoutId id="2147483773" r:id="rId25"/>
    <p:sldLayoutId id="2147483774" r:id="rId26"/>
    <p:sldLayoutId id="2147483804" r:id="rId27"/>
    <p:sldLayoutId id="2147483805" r:id="rId28"/>
    <p:sldLayoutId id="2147483806" r:id="rId29"/>
    <p:sldLayoutId id="2147483722" r:id="rId3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2400" b="0" kern="1200" baseline="0" noProof="0" dirty="0">
          <a:solidFill>
            <a:srgbClr val="003755"/>
          </a:solidFill>
          <a:latin typeface="+mj-lt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Danske Text" panose="00000400000000000000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Danske Text" panose="00000400000000000000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Danske Text" panose="00000400000000000000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+mj-lt"/>
        <a:buAutoNum type="alphaL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+mj-lt"/>
        <a:buAutoNum type="romanL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59" userDrawn="1">
          <p15:clr>
            <a:srgbClr val="F26B43"/>
          </p15:clr>
        </p15:guide>
        <p15:guide id="2" pos="271" userDrawn="1">
          <p15:clr>
            <a:srgbClr val="F26B43"/>
          </p15:clr>
        </p15:guide>
        <p15:guide id="3" pos="7425" userDrawn="1">
          <p15:clr>
            <a:srgbClr val="F26B43"/>
          </p15:clr>
        </p15:guide>
        <p15:guide id="4" orient="horz" pos="457" userDrawn="1">
          <p15:clr>
            <a:srgbClr val="F26B43"/>
          </p15:clr>
        </p15:guide>
        <p15:guide id="5" orient="horz" pos="889" userDrawn="1">
          <p15:clr>
            <a:srgbClr val="F26B43"/>
          </p15:clr>
        </p15:guide>
        <p15:guide id="6" orient="horz" pos="40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rxmarbles.com/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angular.io/guide/http#httpclient" TargetMode="External"/><Relationship Id="rId5" Type="http://schemas.openxmlformats.org/officeDocument/2006/relationships/hyperlink" Target="https://github.com/ReactiveX/rxjs" TargetMode="External"/><Relationship Id="rId4" Type="http://schemas.openxmlformats.org/officeDocument/2006/relationships/hyperlink" Target="http://reactivex.io/languages.html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guide/reactive-forms#reactive-forms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jpg"/><Relationship Id="rId4" Type="http://schemas.openxmlformats.org/officeDocument/2006/relationships/hyperlink" Target="https://angular.io/api/common/AsyncPipe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api/router/Route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angular.io/api/router/ActivatedRoute#description" TargetMode="External"/><Relationship Id="rId4" Type="http://schemas.openxmlformats.org/officeDocument/2006/relationships/hyperlink" Target="https://angular.io/tutorial/toh-pt5#add-a-navigation-link-routerlink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api/animations#classes" TargetMode="External"/><Relationship Id="rId2" Type="http://schemas.openxmlformats.org/officeDocument/2006/relationships/hyperlink" Target="https://angular.io/guide/animations#animations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angular.io/api/animations#functions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slint.org/docs/rules/eqeqeq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angular.io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image" Target="../media/image6.png"/><Relationship Id="rId7" Type="http://schemas.openxmlformats.org/officeDocument/2006/relationships/customXml" Target="../ink/ink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emf"/><Relationship Id="rId5" Type="http://schemas.openxmlformats.org/officeDocument/2006/relationships/customXml" Target="../ink/ink1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err="1"/>
              <a:t>Introductory</a:t>
            </a:r>
            <a:r>
              <a:rPr lang="da-DK" dirty="0"/>
              <a:t> </a:t>
            </a:r>
            <a:r>
              <a:rPr lang="da-DK" dirty="0" err="1"/>
              <a:t>Angular</a:t>
            </a:r>
            <a:r>
              <a:rPr lang="da-DK" dirty="0"/>
              <a:t> and </a:t>
            </a:r>
            <a:r>
              <a:rPr lang="da-DK" dirty="0" err="1"/>
              <a:t>React</a:t>
            </a:r>
            <a:r>
              <a:rPr lang="da-DK" dirty="0"/>
              <a:t> course</a:t>
            </a:r>
            <a:br>
              <a:rPr lang="da-DK" dirty="0"/>
            </a:b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 err="1"/>
              <a:t>October</a:t>
            </a:r>
            <a:r>
              <a:rPr lang="da-DK" dirty="0"/>
              <a:t> 202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0994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show real data </a:t>
            </a:r>
            <a:r>
              <a:rPr lang="da-DK" dirty="0" err="1"/>
              <a:t>fetched</a:t>
            </a:r>
            <a:r>
              <a:rPr lang="da-DK" dirty="0"/>
              <a:t> via http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000" dirty="0" err="1"/>
              <a:t>Hands-on</a:t>
            </a:r>
            <a:r>
              <a:rPr lang="da-DK" sz="4000" dirty="0"/>
              <a:t>: </a:t>
            </a:r>
            <a:r>
              <a:rPr lang="da-DK" sz="4000" dirty="0" err="1"/>
              <a:t>Observables</a:t>
            </a:r>
            <a:endParaRPr lang="en-GB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000" dirty="0" err="1">
                <a:hlinkClick r:id="rId3"/>
              </a:rPr>
              <a:t>Observables</a:t>
            </a:r>
            <a:endParaRPr lang="da-DK" sz="2000" dirty="0"/>
          </a:p>
          <a:p>
            <a:r>
              <a:rPr lang="en-US" sz="2000" dirty="0"/>
              <a:t>Programming with asynchronous data streams.</a:t>
            </a:r>
          </a:p>
          <a:p>
            <a:r>
              <a:rPr lang="en-US" sz="2000" dirty="0" err="1"/>
              <a:t>Lodash</a:t>
            </a:r>
            <a:r>
              <a:rPr lang="en-US" sz="2000" dirty="0"/>
              <a:t> for events, LINQ (.NET) on steroids</a:t>
            </a:r>
          </a:p>
          <a:p>
            <a:r>
              <a:rPr lang="en-US" sz="2000" dirty="0"/>
              <a:t>Infinite / Finite</a:t>
            </a:r>
          </a:p>
          <a:p>
            <a:r>
              <a:rPr lang="en-US" sz="2000" dirty="0"/>
              <a:t>Everything is Observables</a:t>
            </a:r>
          </a:p>
          <a:p>
            <a:pPr lvl="1"/>
            <a:endParaRPr lang="en-US" sz="2000" dirty="0"/>
          </a:p>
          <a:p>
            <a:pPr marL="0" indent="0">
              <a:buNone/>
            </a:pPr>
            <a:r>
              <a:rPr lang="en-US" sz="2000" dirty="0" err="1">
                <a:hlinkClick r:id="rId4"/>
              </a:rPr>
              <a:t>ReactiveX</a:t>
            </a:r>
            <a:r>
              <a:rPr lang="en-US" sz="2000" dirty="0"/>
              <a:t>: </a:t>
            </a:r>
            <a:r>
              <a:rPr lang="en-US" sz="2000" dirty="0" err="1">
                <a:hlinkClick r:id="rId5"/>
              </a:rPr>
              <a:t>RxJs</a:t>
            </a:r>
            <a:endParaRPr lang="en-US" sz="2000" dirty="0"/>
          </a:p>
          <a:p>
            <a:r>
              <a:rPr lang="en-US" sz="2000" dirty="0"/>
              <a:t>Pipe</a:t>
            </a:r>
          </a:p>
          <a:p>
            <a:r>
              <a:rPr lang="en-US" sz="2000" dirty="0"/>
              <a:t>Pure functions </a:t>
            </a:r>
          </a:p>
          <a:p>
            <a:r>
              <a:rPr lang="en-US" sz="2000" dirty="0"/>
              <a:t>filter, map, and more…</a:t>
            </a:r>
          </a:p>
          <a:p>
            <a:r>
              <a:rPr lang="en-US" sz="2000" dirty="0"/>
              <a:t>Subscribe and Unsubscribe</a:t>
            </a:r>
          </a:p>
          <a:p>
            <a:pPr lvl="1"/>
            <a:endParaRPr lang="en-US" sz="2000" dirty="0"/>
          </a:p>
          <a:p>
            <a:pPr marL="0" indent="0">
              <a:buNone/>
            </a:pPr>
            <a:r>
              <a:rPr lang="en-US" sz="2000" dirty="0" err="1">
                <a:hlinkClick r:id="rId6"/>
              </a:rPr>
              <a:t>HttpClient</a:t>
            </a:r>
            <a:endParaRPr lang="en-US" sz="2000" dirty="0"/>
          </a:p>
          <a:p>
            <a:r>
              <a:rPr lang="en-US" sz="2000" dirty="0" err="1"/>
              <a:t>Async</a:t>
            </a:r>
            <a:r>
              <a:rPr lang="en-US" sz="2000" dirty="0"/>
              <a:t> methods: get, post, </a:t>
            </a:r>
            <a:r>
              <a:rPr lang="en-US" sz="2000" dirty="0" err="1"/>
              <a:t>jsonp</a:t>
            </a:r>
            <a:r>
              <a:rPr lang="en-US" sz="2000" dirty="0"/>
              <a:t>, </a:t>
            </a:r>
            <a:r>
              <a:rPr lang="en-US" sz="2000" dirty="0" err="1"/>
              <a:t>etc</a:t>
            </a:r>
            <a:endParaRPr lang="en-US" sz="2000" dirty="0"/>
          </a:p>
          <a:p>
            <a:r>
              <a:rPr lang="en-US" sz="2000" dirty="0"/>
              <a:t>Returns observables, can get piped, subscribed, </a:t>
            </a:r>
            <a:r>
              <a:rPr lang="en-US" sz="2000" dirty="0" err="1"/>
              <a:t>etc</a:t>
            </a:r>
            <a:endParaRPr lang="en-US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832" y="1522800"/>
            <a:ext cx="3991986" cy="2992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9633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Work on real user input and </a:t>
            </a:r>
            <a:r>
              <a:rPr lang="da-DK" dirty="0" err="1"/>
              <a:t>learn</a:t>
            </a:r>
            <a:r>
              <a:rPr lang="da-DK" dirty="0"/>
              <a:t> to handle stream of </a:t>
            </a:r>
            <a:r>
              <a:rPr lang="da-DK" dirty="0" err="1"/>
              <a:t>stream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000" dirty="0" err="1"/>
              <a:t>Hands-on</a:t>
            </a:r>
            <a:r>
              <a:rPr lang="da-DK" sz="4000" dirty="0"/>
              <a:t>: User input and </a:t>
            </a:r>
            <a:r>
              <a:rPr lang="da-DK" sz="4000" dirty="0" err="1"/>
              <a:t>advanced</a:t>
            </a:r>
            <a:r>
              <a:rPr lang="da-DK" sz="4000" dirty="0"/>
              <a:t> </a:t>
            </a:r>
            <a:r>
              <a:rPr lang="da-DK" sz="4000" dirty="0" err="1"/>
              <a:t>Observables</a:t>
            </a:r>
            <a:endParaRPr lang="en-GB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>
          <a:xfrm>
            <a:off x="432198" y="1522800"/>
            <a:ext cx="6790853" cy="4878000"/>
          </a:xfrm>
        </p:spPr>
        <p:txBody>
          <a:bodyPr/>
          <a:lstStyle/>
          <a:p>
            <a:pPr marL="0" indent="0">
              <a:buNone/>
            </a:pPr>
            <a:r>
              <a:rPr lang="en-US" sz="2050" dirty="0">
                <a:hlinkClick r:id="rId3"/>
              </a:rPr>
              <a:t>Reactive Forms</a:t>
            </a:r>
            <a:endParaRPr lang="en-US" sz="2050" dirty="0"/>
          </a:p>
          <a:p>
            <a:r>
              <a:rPr lang="en-US" sz="2050" dirty="0"/>
              <a:t>Register controls in template – binds to component model</a:t>
            </a:r>
          </a:p>
          <a:p>
            <a:r>
              <a:rPr lang="en-US" sz="2050" dirty="0"/>
              <a:t>Read value through ‘value’ property or ‘</a:t>
            </a:r>
            <a:r>
              <a:rPr lang="en-US" sz="2050" dirty="0" err="1"/>
              <a:t>valueChanges</a:t>
            </a:r>
            <a:r>
              <a:rPr lang="en-US" sz="2050" dirty="0"/>
              <a:t>’ observable</a:t>
            </a:r>
          </a:p>
          <a:p>
            <a:r>
              <a:rPr lang="en-US" sz="2050" dirty="0"/>
              <a:t>Alternative to template-driven forms</a:t>
            </a:r>
          </a:p>
          <a:p>
            <a:endParaRPr lang="en-US" sz="2050" dirty="0"/>
          </a:p>
          <a:p>
            <a:pPr marL="0" indent="0">
              <a:buNone/>
            </a:pPr>
            <a:r>
              <a:rPr lang="en-US" sz="2050" dirty="0"/>
              <a:t>Observables (again)</a:t>
            </a:r>
          </a:p>
          <a:p>
            <a:r>
              <a:rPr lang="en-US" sz="2050" dirty="0"/>
              <a:t>filter, map, merge, </a:t>
            </a:r>
            <a:r>
              <a:rPr lang="en-US" sz="2050" dirty="0" err="1"/>
              <a:t>debounceTime</a:t>
            </a:r>
            <a:r>
              <a:rPr lang="en-US" sz="2050" dirty="0"/>
              <a:t>, tap, etc.</a:t>
            </a:r>
          </a:p>
          <a:p>
            <a:r>
              <a:rPr lang="en-US" sz="2050" dirty="0"/>
              <a:t>Handle ‘observable of observables’ with </a:t>
            </a:r>
            <a:r>
              <a:rPr lang="en-US" sz="2050" dirty="0" err="1"/>
              <a:t>switchMap</a:t>
            </a:r>
            <a:r>
              <a:rPr lang="en-US" sz="2050" dirty="0"/>
              <a:t> (etc.)</a:t>
            </a:r>
          </a:p>
          <a:p>
            <a:pPr marL="180000" lvl="1" indent="0">
              <a:buNone/>
            </a:pPr>
            <a:endParaRPr lang="en-US" sz="2050" dirty="0"/>
          </a:p>
          <a:p>
            <a:pPr marL="0" indent="0">
              <a:buNone/>
            </a:pPr>
            <a:r>
              <a:rPr lang="en-US" sz="2050" dirty="0" err="1">
                <a:hlinkClick r:id="rId4"/>
              </a:rPr>
              <a:t>Async</a:t>
            </a:r>
            <a:r>
              <a:rPr lang="en-US" sz="2050" dirty="0">
                <a:hlinkClick r:id="rId4"/>
              </a:rPr>
              <a:t> pipe</a:t>
            </a:r>
            <a:endParaRPr lang="en-US" sz="2050" dirty="0"/>
          </a:p>
          <a:p>
            <a:r>
              <a:rPr lang="en-US" sz="2050" dirty="0"/>
              <a:t>Automatic subscribe </a:t>
            </a:r>
            <a:r>
              <a:rPr lang="en-US" sz="2050" b="1" dirty="0"/>
              <a:t>and</a:t>
            </a:r>
            <a:r>
              <a:rPr lang="en-US" sz="2050" dirty="0"/>
              <a:t> unsubscribe</a:t>
            </a:r>
          </a:p>
          <a:p>
            <a:r>
              <a:rPr lang="en-US" sz="2050" dirty="0"/>
              <a:t>Works on both observables and promises (including null and undefined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1526" y="1494910"/>
            <a:ext cx="4770474" cy="463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0839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Learn </a:t>
            </a:r>
            <a:r>
              <a:rPr lang="da-DK" dirty="0" err="1"/>
              <a:t>about</a:t>
            </a:r>
            <a:r>
              <a:rPr lang="da-DK" dirty="0"/>
              <a:t> routing and store user input in the url and </a:t>
            </a:r>
            <a:r>
              <a:rPr lang="da-DK" dirty="0" err="1"/>
              <a:t>deeplinking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000" dirty="0" err="1"/>
              <a:t>Hands-on</a:t>
            </a:r>
            <a:r>
              <a:rPr lang="da-DK" sz="4000" dirty="0"/>
              <a:t>: Routing</a:t>
            </a:r>
            <a:endParaRPr lang="en-GB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a-DK" sz="2600" dirty="0" err="1"/>
              <a:t>Each</a:t>
            </a:r>
            <a:r>
              <a:rPr lang="da-DK" sz="2600" dirty="0"/>
              <a:t> </a:t>
            </a:r>
            <a:r>
              <a:rPr lang="da-DK" sz="2600" dirty="0" err="1"/>
              <a:t>Module</a:t>
            </a:r>
            <a:r>
              <a:rPr lang="da-DK" sz="2600" dirty="0"/>
              <a:t> </a:t>
            </a:r>
            <a:r>
              <a:rPr lang="da-DK" sz="2600" dirty="0" err="1"/>
              <a:t>can</a:t>
            </a:r>
            <a:r>
              <a:rPr lang="da-DK" sz="2600" dirty="0"/>
              <a:t> have </a:t>
            </a:r>
            <a:r>
              <a:rPr lang="da-DK" sz="2600" dirty="0" err="1"/>
              <a:t>its</a:t>
            </a:r>
            <a:r>
              <a:rPr lang="da-DK" sz="2600" dirty="0"/>
              <a:t> </a:t>
            </a:r>
            <a:r>
              <a:rPr lang="da-DK" sz="2600" dirty="0" err="1"/>
              <a:t>own</a:t>
            </a:r>
            <a:r>
              <a:rPr lang="da-DK" sz="2600" dirty="0"/>
              <a:t> routes</a:t>
            </a:r>
          </a:p>
          <a:p>
            <a:pPr>
              <a:lnSpc>
                <a:spcPct val="150000"/>
              </a:lnSpc>
            </a:pPr>
            <a:r>
              <a:rPr lang="da-DK" sz="2600" dirty="0" err="1"/>
              <a:t>Easily</a:t>
            </a:r>
            <a:r>
              <a:rPr lang="da-DK" sz="2600" dirty="0"/>
              <a:t> </a:t>
            </a:r>
            <a:r>
              <a:rPr lang="da-DK" sz="2600" dirty="0" err="1"/>
              <a:t>configured</a:t>
            </a:r>
            <a:r>
              <a:rPr lang="da-DK" sz="2600" dirty="0"/>
              <a:t> with the CLI</a:t>
            </a:r>
          </a:p>
          <a:p>
            <a:pPr>
              <a:lnSpc>
                <a:spcPct val="150000"/>
              </a:lnSpc>
            </a:pPr>
            <a:r>
              <a:rPr lang="da-DK" sz="2600" dirty="0">
                <a:hlinkClick r:id="rId3"/>
              </a:rPr>
              <a:t>Route</a:t>
            </a:r>
            <a:r>
              <a:rPr lang="da-DK" sz="2600" dirty="0"/>
              <a:t> (</a:t>
            </a:r>
            <a:r>
              <a:rPr lang="da-DK" sz="2600" dirty="0" err="1"/>
              <a:t>path</a:t>
            </a:r>
            <a:r>
              <a:rPr lang="da-DK" sz="2600" dirty="0"/>
              <a:t>, </a:t>
            </a:r>
            <a:r>
              <a:rPr lang="da-DK" sz="2600" dirty="0" err="1"/>
              <a:t>pathMatch</a:t>
            </a:r>
            <a:r>
              <a:rPr lang="da-DK" sz="2600" dirty="0"/>
              <a:t>, component,</a:t>
            </a:r>
            <a:br>
              <a:rPr lang="da-DK" sz="2600" dirty="0"/>
            </a:br>
            <a:r>
              <a:rPr lang="da-DK" sz="2600" dirty="0" err="1"/>
              <a:t>redirectTo</a:t>
            </a:r>
            <a:r>
              <a:rPr lang="da-DK" sz="2600" dirty="0"/>
              <a:t>, </a:t>
            </a:r>
            <a:r>
              <a:rPr lang="da-DK" sz="2600" dirty="0" err="1"/>
              <a:t>outlet</a:t>
            </a:r>
            <a:r>
              <a:rPr lang="da-DK" sz="2600" dirty="0"/>
              <a:t>, </a:t>
            </a:r>
            <a:r>
              <a:rPr lang="da-DK" sz="2600" dirty="0" err="1"/>
              <a:t>canActivate</a:t>
            </a:r>
            <a:r>
              <a:rPr lang="da-DK" sz="2600" dirty="0"/>
              <a:t>, data, </a:t>
            </a:r>
            <a:r>
              <a:rPr lang="da-DK" sz="2600" dirty="0" err="1"/>
              <a:t>children</a:t>
            </a:r>
            <a:r>
              <a:rPr lang="da-DK" sz="2600" dirty="0"/>
              <a:t>)</a:t>
            </a:r>
          </a:p>
          <a:p>
            <a:pPr>
              <a:lnSpc>
                <a:spcPct val="150000"/>
              </a:lnSpc>
            </a:pPr>
            <a:r>
              <a:rPr lang="da-DK" sz="2600" dirty="0" err="1"/>
              <a:t>RouterOutlet</a:t>
            </a:r>
            <a:endParaRPr lang="da-DK" sz="2600" dirty="0"/>
          </a:p>
          <a:p>
            <a:pPr>
              <a:lnSpc>
                <a:spcPct val="150000"/>
              </a:lnSpc>
            </a:pPr>
            <a:r>
              <a:rPr lang="da-DK" sz="2600" dirty="0" err="1"/>
              <a:t>Children</a:t>
            </a:r>
            <a:endParaRPr lang="da-DK" sz="2600" dirty="0"/>
          </a:p>
          <a:p>
            <a:pPr>
              <a:lnSpc>
                <a:spcPct val="150000"/>
              </a:lnSpc>
            </a:pPr>
            <a:r>
              <a:rPr lang="da-DK" sz="2600" dirty="0" err="1">
                <a:hlinkClick r:id="rId4"/>
              </a:rPr>
              <a:t>routerLink</a:t>
            </a:r>
            <a:endParaRPr lang="da-DK" sz="2600" dirty="0"/>
          </a:p>
          <a:p>
            <a:pPr>
              <a:lnSpc>
                <a:spcPct val="150000"/>
              </a:lnSpc>
            </a:pPr>
            <a:r>
              <a:rPr lang="da-DK" sz="2600" dirty="0" err="1">
                <a:hlinkClick r:id="rId5"/>
              </a:rPr>
              <a:t>ActivatedRoute</a:t>
            </a:r>
            <a:r>
              <a:rPr lang="da-DK" sz="2600" dirty="0"/>
              <a:t> (</a:t>
            </a:r>
            <a:r>
              <a:rPr lang="da-DK" sz="2600" dirty="0" err="1"/>
              <a:t>ParamMap</a:t>
            </a:r>
            <a:r>
              <a:rPr lang="da-DK" sz="2600" dirty="0"/>
              <a:t>), Router(.</a:t>
            </a:r>
            <a:r>
              <a:rPr lang="da-DK" sz="2600" dirty="0" err="1"/>
              <a:t>navigate</a:t>
            </a:r>
            <a:r>
              <a:rPr lang="da-DK" sz="2600" dirty="0"/>
              <a:t>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3321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weet</a:t>
            </a:r>
            <a:r>
              <a:rPr lang="da-DK" dirty="0"/>
              <a:t> </a:t>
            </a:r>
            <a:r>
              <a:rPr lang="da-DK" dirty="0" err="1"/>
              <a:t>sweet</a:t>
            </a:r>
            <a:r>
              <a:rPr lang="da-DK" dirty="0"/>
              <a:t> animation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000" dirty="0" err="1"/>
              <a:t>Hands-on</a:t>
            </a:r>
            <a:r>
              <a:rPr lang="da-DK" sz="4000" dirty="0"/>
              <a:t>: Animations</a:t>
            </a:r>
            <a:endParaRPr lang="en-GB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a-DK" sz="2200" dirty="0"/>
              <a:t>CSS animations</a:t>
            </a:r>
          </a:p>
          <a:p>
            <a:pPr>
              <a:lnSpc>
                <a:spcPct val="150000"/>
              </a:lnSpc>
            </a:pPr>
            <a:r>
              <a:rPr lang="da-DK" sz="2200" dirty="0" err="1">
                <a:hlinkClick r:id="rId2"/>
              </a:rPr>
              <a:t>Angular</a:t>
            </a:r>
            <a:r>
              <a:rPr lang="da-DK" sz="2200" dirty="0">
                <a:hlinkClick r:id="rId2"/>
              </a:rPr>
              <a:t> animation</a:t>
            </a:r>
            <a:r>
              <a:rPr lang="da-DK" sz="2200" dirty="0"/>
              <a:t> </a:t>
            </a:r>
            <a:r>
              <a:rPr lang="da-DK" sz="2200" dirty="0" err="1"/>
              <a:t>builds</a:t>
            </a:r>
            <a:r>
              <a:rPr lang="da-DK" sz="2200" dirty="0"/>
              <a:t> on top of CSS animations</a:t>
            </a:r>
          </a:p>
          <a:p>
            <a:pPr>
              <a:lnSpc>
                <a:spcPct val="150000"/>
              </a:lnSpc>
            </a:pPr>
            <a:r>
              <a:rPr lang="da-DK" sz="2200" dirty="0" err="1"/>
              <a:t>Polyfills</a:t>
            </a:r>
            <a:endParaRPr lang="da-DK" sz="2200" dirty="0"/>
          </a:p>
          <a:p>
            <a:pPr>
              <a:lnSpc>
                <a:spcPct val="150000"/>
              </a:lnSpc>
            </a:pPr>
            <a:r>
              <a:rPr lang="da-DK" sz="2200" dirty="0" err="1"/>
              <a:t>trigger</a:t>
            </a:r>
            <a:r>
              <a:rPr lang="da-DK" sz="2200" dirty="0"/>
              <a:t>, </a:t>
            </a:r>
            <a:r>
              <a:rPr lang="da-DK" sz="2200" dirty="0" err="1"/>
              <a:t>state</a:t>
            </a:r>
            <a:r>
              <a:rPr lang="da-DK" sz="2200" dirty="0"/>
              <a:t>, style, animate, transition</a:t>
            </a:r>
          </a:p>
          <a:p>
            <a:pPr>
              <a:lnSpc>
                <a:spcPct val="150000"/>
              </a:lnSpc>
            </a:pPr>
            <a:r>
              <a:rPr lang="da-DK" sz="2200" dirty="0"/>
              <a:t>Wildcard, </a:t>
            </a:r>
            <a:r>
              <a:rPr lang="da-DK" sz="2200" dirty="0" err="1"/>
              <a:t>void</a:t>
            </a:r>
            <a:r>
              <a:rPr lang="da-DK" sz="2200" dirty="0"/>
              <a:t>, enter, </a:t>
            </a:r>
            <a:r>
              <a:rPr lang="da-DK" sz="2200" dirty="0" err="1"/>
              <a:t>leave</a:t>
            </a:r>
            <a:r>
              <a:rPr lang="da-DK" sz="2200" dirty="0"/>
              <a:t> </a:t>
            </a:r>
            <a:r>
              <a:rPr lang="da-DK" sz="2200" dirty="0" err="1"/>
              <a:t>states</a:t>
            </a:r>
            <a:endParaRPr lang="da-DK" sz="2200" dirty="0"/>
          </a:p>
          <a:p>
            <a:pPr>
              <a:lnSpc>
                <a:spcPct val="150000"/>
              </a:lnSpc>
            </a:pPr>
            <a:r>
              <a:rPr lang="da-DK" sz="2200" dirty="0"/>
              <a:t>Automatic </a:t>
            </a:r>
            <a:r>
              <a:rPr lang="da-DK" sz="2200" dirty="0" err="1"/>
              <a:t>property</a:t>
            </a:r>
            <a:r>
              <a:rPr lang="da-DK" sz="2200" dirty="0"/>
              <a:t> </a:t>
            </a:r>
            <a:r>
              <a:rPr lang="da-DK" sz="2200" dirty="0" err="1"/>
              <a:t>calculations</a:t>
            </a:r>
            <a:endParaRPr lang="da-DK" sz="2200" dirty="0"/>
          </a:p>
          <a:p>
            <a:pPr>
              <a:lnSpc>
                <a:spcPct val="150000"/>
              </a:lnSpc>
            </a:pPr>
            <a:r>
              <a:rPr lang="da-DK" sz="2200" dirty="0"/>
              <a:t>Timing properties: </a:t>
            </a:r>
            <a:r>
              <a:rPr lang="da-DK" sz="2200" dirty="0" err="1"/>
              <a:t>Duration</a:t>
            </a:r>
            <a:r>
              <a:rPr lang="da-DK" sz="2200" dirty="0"/>
              <a:t>, </a:t>
            </a:r>
            <a:r>
              <a:rPr lang="da-DK" sz="2200" dirty="0" err="1"/>
              <a:t>Delay</a:t>
            </a:r>
            <a:r>
              <a:rPr lang="da-DK" sz="2200" dirty="0"/>
              <a:t>, </a:t>
            </a:r>
            <a:r>
              <a:rPr lang="da-DK" sz="2200" dirty="0" err="1"/>
              <a:t>Easing</a:t>
            </a:r>
            <a:endParaRPr lang="da-DK" sz="2200" dirty="0"/>
          </a:p>
          <a:p>
            <a:pPr>
              <a:lnSpc>
                <a:spcPct val="150000"/>
              </a:lnSpc>
            </a:pPr>
            <a:r>
              <a:rPr lang="da-DK" sz="2200" dirty="0">
                <a:hlinkClick r:id="rId3"/>
              </a:rPr>
              <a:t>Animation </a:t>
            </a:r>
            <a:r>
              <a:rPr lang="da-DK" sz="2200" dirty="0" err="1">
                <a:hlinkClick r:id="rId3"/>
              </a:rPr>
              <a:t>builder</a:t>
            </a:r>
            <a:endParaRPr lang="da-DK" sz="2200" dirty="0"/>
          </a:p>
          <a:p>
            <a:pPr>
              <a:lnSpc>
                <a:spcPct val="150000"/>
              </a:lnSpc>
            </a:pPr>
            <a:r>
              <a:rPr lang="da-DK" sz="2200" dirty="0">
                <a:hlinkClick r:id="rId4"/>
              </a:rPr>
              <a:t>Animation </a:t>
            </a:r>
            <a:r>
              <a:rPr lang="da-DK" sz="2200" dirty="0" err="1">
                <a:hlinkClick r:id="rId4"/>
              </a:rPr>
              <a:t>functions</a:t>
            </a:r>
            <a:r>
              <a:rPr lang="da-DK" sz="2200" dirty="0"/>
              <a:t>: Keyframes, </a:t>
            </a:r>
            <a:r>
              <a:rPr lang="da-DK" sz="2200" dirty="0" err="1"/>
              <a:t>groups</a:t>
            </a:r>
            <a:r>
              <a:rPr lang="da-DK" sz="2200" dirty="0"/>
              <a:t>, </a:t>
            </a:r>
            <a:r>
              <a:rPr lang="da-DK" sz="2200" dirty="0" err="1"/>
              <a:t>callbacks</a:t>
            </a:r>
            <a:r>
              <a:rPr lang="da-DK" sz="2200" dirty="0"/>
              <a:t>, </a:t>
            </a:r>
            <a:r>
              <a:rPr lang="da-DK" sz="2200" dirty="0" err="1"/>
              <a:t>stagger</a:t>
            </a:r>
            <a:r>
              <a:rPr lang="da-DK" sz="2200" dirty="0"/>
              <a:t>, etc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10567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functionality</a:t>
            </a:r>
            <a:r>
              <a:rPr lang="da-DK" dirty="0"/>
              <a:t> to an element by </a:t>
            </a:r>
            <a:r>
              <a:rPr lang="da-DK" dirty="0" err="1"/>
              <a:t>creating</a:t>
            </a:r>
            <a:r>
              <a:rPr lang="da-DK" dirty="0"/>
              <a:t> and </a:t>
            </a:r>
            <a:r>
              <a:rPr lang="da-DK" dirty="0" err="1"/>
              <a:t>adding</a:t>
            </a:r>
            <a:r>
              <a:rPr lang="da-DK" dirty="0"/>
              <a:t> a </a:t>
            </a:r>
            <a:r>
              <a:rPr lang="da-DK" dirty="0" err="1"/>
              <a:t>directive</a:t>
            </a:r>
            <a:r>
              <a:rPr lang="da-DK" dirty="0"/>
              <a:t> to it</a:t>
            </a:r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800" dirty="0"/>
              <a:t>Directives</a:t>
            </a:r>
            <a:endParaRPr lang="en-GB" sz="4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400" dirty="0" err="1"/>
              <a:t>Angular</a:t>
            </a:r>
            <a:r>
              <a:rPr lang="da-DK" sz="2400" dirty="0"/>
              <a:t> </a:t>
            </a:r>
            <a:r>
              <a:rPr lang="da-DK" sz="2400" dirty="0" err="1"/>
              <a:t>directives</a:t>
            </a:r>
            <a:r>
              <a:rPr lang="da-DK" sz="2400" dirty="0"/>
              <a:t> </a:t>
            </a:r>
            <a:r>
              <a:rPr lang="da-DK" sz="2400" dirty="0" err="1"/>
              <a:t>attach</a:t>
            </a:r>
            <a:r>
              <a:rPr lang="da-DK" sz="2400" dirty="0"/>
              <a:t> </a:t>
            </a:r>
            <a:r>
              <a:rPr lang="da-DK" sz="2400" dirty="0" err="1"/>
              <a:t>custom</a:t>
            </a:r>
            <a:r>
              <a:rPr lang="da-DK" sz="2400" dirty="0"/>
              <a:t> </a:t>
            </a:r>
            <a:r>
              <a:rPr lang="da-DK" sz="2400" dirty="0" err="1"/>
              <a:t>behaviour</a:t>
            </a:r>
            <a:r>
              <a:rPr lang="da-DK" sz="2400" dirty="0"/>
              <a:t> to elements in the DOM.</a:t>
            </a:r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r>
              <a:rPr lang="da-DK" sz="2400" dirty="0" err="1"/>
              <a:t>Structural</a:t>
            </a:r>
            <a:r>
              <a:rPr lang="da-DK" sz="2400" dirty="0"/>
              <a:t> </a:t>
            </a:r>
            <a:r>
              <a:rPr lang="da-DK" sz="2400" dirty="0" err="1"/>
              <a:t>directives</a:t>
            </a:r>
            <a:r>
              <a:rPr lang="da-DK" sz="2400" dirty="0"/>
              <a:t> </a:t>
            </a:r>
            <a:r>
              <a:rPr lang="en-US" sz="2400" dirty="0"/>
              <a:t> shape or reshape the DOM's structure, typically by adding, removing, or manipulating elements. They are normally prefixed with an asterisk (*).</a:t>
            </a:r>
            <a:endParaRPr lang="en-GB" sz="2400" dirty="0"/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r>
              <a:rPr lang="da-DK" sz="2400" dirty="0" err="1"/>
              <a:t>Built</a:t>
            </a:r>
            <a:r>
              <a:rPr lang="da-DK" sz="2400" dirty="0"/>
              <a:t>-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2400" dirty="0" err="1"/>
              <a:t>Attribute</a:t>
            </a:r>
            <a:r>
              <a:rPr lang="da-DK" sz="2400" dirty="0"/>
              <a:t> Directives: </a:t>
            </a:r>
            <a:r>
              <a:rPr lang="da-DK" sz="2400" dirty="0" err="1"/>
              <a:t>ngModel</a:t>
            </a:r>
            <a:r>
              <a:rPr lang="da-DK" sz="2400" dirty="0"/>
              <a:t>, </a:t>
            </a:r>
            <a:r>
              <a:rPr lang="da-DK" sz="2400" dirty="0" err="1"/>
              <a:t>ngStyle</a:t>
            </a:r>
            <a:r>
              <a:rPr lang="da-DK" sz="2400" dirty="0"/>
              <a:t>, </a:t>
            </a:r>
            <a:r>
              <a:rPr lang="da-DK" sz="2400" dirty="0" err="1"/>
              <a:t>routerLink</a:t>
            </a:r>
            <a:r>
              <a:rPr lang="da-DK" sz="2400" dirty="0"/>
              <a:t> , </a:t>
            </a:r>
            <a:r>
              <a:rPr lang="da-DK" sz="2400" dirty="0" err="1"/>
              <a:t>ngClass</a:t>
            </a:r>
            <a:r>
              <a:rPr lang="da-DK" sz="2400" dirty="0"/>
              <a:t>, etc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2400" dirty="0" err="1"/>
              <a:t>Structural</a:t>
            </a:r>
            <a:r>
              <a:rPr lang="da-DK" sz="2400" dirty="0"/>
              <a:t> Directives: *</a:t>
            </a:r>
            <a:r>
              <a:rPr lang="da-DK" sz="2400" dirty="0" err="1"/>
              <a:t>ngIf</a:t>
            </a:r>
            <a:r>
              <a:rPr lang="da-DK" sz="2400" dirty="0"/>
              <a:t>, *</a:t>
            </a:r>
            <a:r>
              <a:rPr lang="da-DK" sz="2400" dirty="0" err="1"/>
              <a:t>ngFor</a:t>
            </a:r>
            <a:r>
              <a:rPr lang="da-DK" sz="2400" dirty="0"/>
              <a:t>, </a:t>
            </a:r>
            <a:r>
              <a:rPr lang="da-DK" sz="2400" dirty="0" err="1"/>
              <a:t>ngSwitch</a:t>
            </a:r>
            <a:endParaRPr lang="da-DK" sz="2400" dirty="0"/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r>
              <a:rPr lang="da-DK" sz="2400" dirty="0"/>
              <a:t>Writing a </a:t>
            </a:r>
            <a:r>
              <a:rPr lang="da-DK" sz="2400" dirty="0" err="1"/>
              <a:t>custom</a:t>
            </a:r>
            <a:r>
              <a:rPr lang="da-DK" sz="2400" dirty="0"/>
              <a:t> </a:t>
            </a:r>
            <a:r>
              <a:rPr lang="da-DK" sz="2400" dirty="0" err="1"/>
              <a:t>directives</a:t>
            </a:r>
            <a:endParaRPr lang="da-DK" sz="24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2400" dirty="0"/>
              <a:t>Selecto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2400" dirty="0" err="1"/>
              <a:t>Constructor</a:t>
            </a:r>
            <a:r>
              <a:rPr lang="da-DK" sz="2400" dirty="0"/>
              <a:t> </a:t>
            </a:r>
            <a:r>
              <a:rPr lang="da-DK" sz="2400" dirty="0" err="1"/>
              <a:t>injection</a:t>
            </a:r>
            <a:endParaRPr lang="da-DK" sz="24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2400" dirty="0" err="1"/>
              <a:t>Lifecycle</a:t>
            </a:r>
            <a:r>
              <a:rPr lang="da-DK" sz="2400" dirty="0"/>
              <a:t> hook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19202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</a:t>
            </a:r>
            <a:r>
              <a:rPr lang="da-DK" dirty="0" err="1"/>
              <a:t>Validate</a:t>
            </a:r>
            <a:r>
              <a:rPr lang="da-DK" dirty="0"/>
              <a:t> </a:t>
            </a:r>
            <a:r>
              <a:rPr lang="da-DK" dirty="0" err="1"/>
              <a:t>fields</a:t>
            </a:r>
            <a:r>
              <a:rPr lang="da-DK" dirty="0"/>
              <a:t> and provide feedback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800" dirty="0"/>
              <a:t>Form </a:t>
            </a:r>
            <a:r>
              <a:rPr lang="da-DK" sz="4800" dirty="0" err="1"/>
              <a:t>validation</a:t>
            </a:r>
            <a:endParaRPr lang="en-GB" sz="4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900" dirty="0"/>
              <a:t>Validate user input in the UI and display useful validation messages using both reactive and template-driven forms. </a:t>
            </a:r>
            <a:r>
              <a:rPr lang="da-DK" sz="1900" dirty="0" err="1"/>
              <a:t>Built</a:t>
            </a:r>
            <a:r>
              <a:rPr lang="da-DK" sz="1900" dirty="0"/>
              <a:t> on top of browser </a:t>
            </a:r>
            <a:r>
              <a:rPr lang="da-DK" sz="1900" dirty="0" err="1"/>
              <a:t>validation</a:t>
            </a:r>
            <a:r>
              <a:rPr lang="da-DK" sz="1900" dirty="0"/>
              <a:t>.</a:t>
            </a:r>
          </a:p>
          <a:p>
            <a:pPr marL="0" indent="0">
              <a:buNone/>
            </a:pPr>
            <a:endParaRPr lang="da-DK" sz="1900" dirty="0"/>
          </a:p>
          <a:p>
            <a:pPr marL="0" indent="0">
              <a:buNone/>
            </a:pPr>
            <a:r>
              <a:rPr lang="da-DK" sz="1900" dirty="0" err="1"/>
              <a:t>Built</a:t>
            </a:r>
            <a:r>
              <a:rPr lang="da-DK" sz="1900" dirty="0"/>
              <a:t>-in HTML5 </a:t>
            </a:r>
            <a:r>
              <a:rPr lang="da-DK" sz="1900" dirty="0" err="1"/>
              <a:t>validation</a:t>
            </a:r>
            <a:endParaRPr lang="da-DK" sz="19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 err="1"/>
              <a:t>Required</a:t>
            </a:r>
            <a:endParaRPr lang="da-DK" sz="19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 err="1"/>
              <a:t>Maxlength</a:t>
            </a:r>
            <a:r>
              <a:rPr lang="da-DK" sz="1900" dirty="0"/>
              <a:t> and </a:t>
            </a:r>
            <a:r>
              <a:rPr lang="da-DK" sz="1900" dirty="0" err="1"/>
              <a:t>minlength</a:t>
            </a:r>
            <a:endParaRPr lang="da-DK" sz="19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/>
              <a:t>Pattern (</a:t>
            </a:r>
            <a:r>
              <a:rPr lang="da-DK" sz="1900" dirty="0" err="1"/>
              <a:t>regex</a:t>
            </a:r>
            <a:r>
              <a:rPr lang="da-DK" sz="19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/>
              <a:t>Type (</a:t>
            </a:r>
            <a:r>
              <a:rPr lang="da-DK" sz="1900" dirty="0" err="1"/>
              <a:t>number</a:t>
            </a:r>
            <a:r>
              <a:rPr lang="da-DK" sz="1900" dirty="0"/>
              <a:t>, </a:t>
            </a:r>
            <a:r>
              <a:rPr lang="da-DK" sz="1900" dirty="0" err="1"/>
              <a:t>email</a:t>
            </a:r>
            <a:r>
              <a:rPr lang="da-DK" sz="1900" dirty="0"/>
              <a:t>, </a:t>
            </a:r>
            <a:r>
              <a:rPr lang="da-DK" sz="1900" dirty="0" err="1"/>
              <a:t>etc</a:t>
            </a:r>
            <a:r>
              <a:rPr lang="da-DK" sz="19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/>
              <a:t>Min and max (</a:t>
            </a:r>
            <a:r>
              <a:rPr lang="da-DK" sz="1900" dirty="0" err="1"/>
              <a:t>number</a:t>
            </a:r>
            <a:r>
              <a:rPr lang="da-DK" sz="1900" dirty="0"/>
              <a:t> range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 err="1"/>
              <a:t>Pseudo</a:t>
            </a:r>
            <a:r>
              <a:rPr lang="da-DK" sz="1900" dirty="0"/>
              <a:t> </a:t>
            </a:r>
            <a:r>
              <a:rPr lang="da-DK" sz="1900" dirty="0" err="1"/>
              <a:t>classes</a:t>
            </a:r>
            <a:r>
              <a:rPr lang="da-DK" sz="1900" dirty="0"/>
              <a:t> (:valid and :invalid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/>
              <a:t>JavaScript API</a:t>
            </a:r>
          </a:p>
          <a:p>
            <a:pPr>
              <a:buFont typeface="Arial" panose="020B0604020202020204" pitchFamily="34" charset="0"/>
              <a:buChar char="•"/>
            </a:pPr>
            <a:endParaRPr lang="da-DK" sz="1900" dirty="0"/>
          </a:p>
          <a:p>
            <a:pPr marL="0" indent="0">
              <a:buNone/>
            </a:pPr>
            <a:r>
              <a:rPr lang="da-DK" sz="1900" dirty="0" err="1"/>
              <a:t>Angular</a:t>
            </a:r>
            <a:r>
              <a:rPr lang="da-DK" sz="1900" dirty="0"/>
              <a:t> </a:t>
            </a:r>
            <a:r>
              <a:rPr lang="da-DK" sz="1900" dirty="0" err="1"/>
              <a:t>validation</a:t>
            </a:r>
            <a:endParaRPr lang="da-DK" sz="19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 err="1"/>
              <a:t>Function</a:t>
            </a:r>
            <a:r>
              <a:rPr lang="da-DK" sz="1900" dirty="0"/>
              <a:t> with </a:t>
            </a:r>
            <a:r>
              <a:rPr lang="da-DK" sz="1900" dirty="0" err="1"/>
              <a:t>custom</a:t>
            </a:r>
            <a:r>
              <a:rPr lang="da-DK" sz="1900" dirty="0"/>
              <a:t> </a:t>
            </a:r>
            <a:r>
              <a:rPr lang="da-DK" sz="1900" dirty="0" err="1"/>
              <a:t>logic</a:t>
            </a:r>
            <a:r>
              <a:rPr lang="da-DK" sz="1900" dirty="0"/>
              <a:t> </a:t>
            </a:r>
            <a:r>
              <a:rPr lang="da-DK" sz="1900" dirty="0" err="1"/>
              <a:t>through</a:t>
            </a:r>
            <a:r>
              <a:rPr lang="da-DK" sz="1900" dirty="0"/>
              <a:t> interfa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/>
              <a:t>State properties: valid, invalid, </a:t>
            </a:r>
            <a:r>
              <a:rPr lang="da-DK" sz="1900" dirty="0" err="1"/>
              <a:t>touched</a:t>
            </a:r>
            <a:r>
              <a:rPr lang="da-DK" sz="1900" dirty="0"/>
              <a:t>, </a:t>
            </a:r>
            <a:r>
              <a:rPr lang="da-DK" sz="1900" dirty="0" err="1"/>
              <a:t>untouched</a:t>
            </a:r>
            <a:r>
              <a:rPr lang="da-DK" sz="1900" dirty="0"/>
              <a:t>, </a:t>
            </a:r>
            <a:r>
              <a:rPr lang="da-DK" sz="1900" dirty="0" err="1"/>
              <a:t>pristine</a:t>
            </a:r>
            <a:r>
              <a:rPr lang="da-DK" sz="1900" dirty="0"/>
              <a:t>, </a:t>
            </a:r>
            <a:r>
              <a:rPr lang="da-DK" sz="1900" dirty="0" err="1"/>
              <a:t>dirty</a:t>
            </a:r>
            <a:r>
              <a:rPr lang="da-DK" sz="1900" dirty="0"/>
              <a:t>, </a:t>
            </a:r>
            <a:r>
              <a:rPr lang="da-DK" sz="1900" dirty="0" err="1"/>
              <a:t>pending</a:t>
            </a:r>
            <a:endParaRPr lang="da-DK" sz="19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1900" dirty="0"/>
              <a:t>Handles css </a:t>
            </a:r>
            <a:r>
              <a:rPr lang="da-DK" sz="1900" dirty="0" err="1"/>
              <a:t>classes</a:t>
            </a:r>
            <a:r>
              <a:rPr lang="da-DK" sz="1900" dirty="0"/>
              <a:t> for </a:t>
            </a:r>
            <a:r>
              <a:rPr lang="da-DK" sz="1900" dirty="0" err="1"/>
              <a:t>states</a:t>
            </a:r>
            <a:endParaRPr lang="da-DK" sz="19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53029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</a:t>
            </a:r>
            <a:r>
              <a:rPr lang="da-DK" dirty="0" err="1"/>
              <a:t>Create</a:t>
            </a:r>
            <a:r>
              <a:rPr lang="da-DK" dirty="0"/>
              <a:t> </a:t>
            </a:r>
            <a:r>
              <a:rPr lang="da-DK" dirty="0" err="1"/>
              <a:t>some</a:t>
            </a:r>
            <a:r>
              <a:rPr lang="da-DK" dirty="0"/>
              <a:t> unit and component test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800" dirty="0"/>
              <a:t>Automated </a:t>
            </a:r>
            <a:r>
              <a:rPr lang="da-DK" sz="4800" dirty="0" err="1"/>
              <a:t>Testing</a:t>
            </a:r>
            <a:endParaRPr lang="en-GB" sz="4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300" dirty="0"/>
              <a:t>Default Test framework and test </a:t>
            </a:r>
            <a:r>
              <a:rPr lang="da-DK" sz="2300" dirty="0" err="1"/>
              <a:t>runner</a:t>
            </a:r>
            <a:r>
              <a:rPr lang="da-DK" sz="2300" dirty="0"/>
              <a:t> for </a:t>
            </a:r>
            <a:r>
              <a:rPr lang="da-DK" sz="2300" dirty="0" err="1"/>
              <a:t>Angular</a:t>
            </a:r>
            <a:r>
              <a:rPr lang="da-DK" sz="2300" dirty="0"/>
              <a:t> is Jasmine and Karma.</a:t>
            </a:r>
          </a:p>
          <a:p>
            <a:pPr marL="0" indent="0">
              <a:buNone/>
            </a:pPr>
            <a:endParaRPr lang="da-DK" sz="2300" dirty="0"/>
          </a:p>
          <a:p>
            <a:pPr marL="0" indent="0">
              <a:buNone/>
            </a:pPr>
            <a:r>
              <a:rPr lang="da-DK" sz="2300" dirty="0" err="1"/>
              <a:t>Different</a:t>
            </a:r>
            <a:r>
              <a:rPr lang="da-DK" sz="2300" dirty="0"/>
              <a:t> types of tests</a:t>
            </a:r>
          </a:p>
          <a:p>
            <a:r>
              <a:rPr lang="da-DK" sz="2300" dirty="0"/>
              <a:t>Unit tests (tests the smallest </a:t>
            </a:r>
            <a:r>
              <a:rPr lang="da-DK" sz="2300" dirty="0" err="1"/>
              <a:t>posible</a:t>
            </a:r>
            <a:r>
              <a:rPr lang="da-DK" sz="2300" dirty="0"/>
              <a:t> unit)</a:t>
            </a:r>
          </a:p>
          <a:p>
            <a:r>
              <a:rPr lang="da-DK" sz="2300" dirty="0"/>
              <a:t>Component tests (</a:t>
            </a:r>
            <a:r>
              <a:rPr lang="da-DK" sz="2300" dirty="0" err="1"/>
              <a:t>needs</a:t>
            </a:r>
            <a:r>
              <a:rPr lang="da-DK" sz="2300" dirty="0"/>
              <a:t> </a:t>
            </a:r>
            <a:r>
              <a:rPr lang="da-DK" sz="2300" dirty="0" err="1"/>
              <a:t>TestBed</a:t>
            </a:r>
            <a:r>
              <a:rPr lang="da-DK" sz="2300" dirty="0"/>
              <a:t> </a:t>
            </a:r>
            <a:r>
              <a:rPr lang="da-DK" sz="2300" dirty="0" err="1"/>
              <a:t>configuration</a:t>
            </a:r>
            <a:r>
              <a:rPr lang="da-DK" sz="2300" dirty="0"/>
              <a:t>)</a:t>
            </a:r>
          </a:p>
          <a:p>
            <a:r>
              <a:rPr lang="da-DK" sz="2300" dirty="0"/>
              <a:t>Integration tests (</a:t>
            </a:r>
            <a:r>
              <a:rPr lang="da-DK" sz="2300" dirty="0" err="1"/>
              <a:t>often</a:t>
            </a:r>
            <a:r>
              <a:rPr lang="da-DK" sz="2300" dirty="0"/>
              <a:t> </a:t>
            </a:r>
            <a:r>
              <a:rPr lang="da-DK" sz="2300" dirty="0" err="1"/>
              <a:t>also</a:t>
            </a:r>
            <a:r>
              <a:rPr lang="da-DK" sz="2300" dirty="0"/>
              <a:t> </a:t>
            </a:r>
            <a:r>
              <a:rPr lang="da-DK" sz="2300" dirty="0" err="1"/>
              <a:t>requires</a:t>
            </a:r>
            <a:r>
              <a:rPr lang="da-DK" sz="2300" dirty="0"/>
              <a:t> </a:t>
            </a:r>
            <a:r>
              <a:rPr lang="da-DK" sz="2300" dirty="0" err="1"/>
              <a:t>TestBed</a:t>
            </a:r>
            <a:r>
              <a:rPr lang="da-DK" sz="2300" dirty="0"/>
              <a:t> </a:t>
            </a:r>
            <a:r>
              <a:rPr lang="da-DK" sz="2300" dirty="0" err="1"/>
              <a:t>configuration</a:t>
            </a:r>
            <a:r>
              <a:rPr lang="da-DK" sz="2300" dirty="0"/>
              <a:t>)</a:t>
            </a:r>
          </a:p>
          <a:p>
            <a:r>
              <a:rPr lang="da-DK" sz="2300" dirty="0"/>
              <a:t>End to end tests (</a:t>
            </a:r>
            <a:r>
              <a:rPr lang="da-DK" sz="2300" dirty="0" err="1"/>
              <a:t>popular</a:t>
            </a:r>
            <a:r>
              <a:rPr lang="da-DK" sz="2300" dirty="0"/>
              <a:t> </a:t>
            </a:r>
            <a:r>
              <a:rPr lang="da-DK" sz="2300" dirty="0" err="1"/>
              <a:t>ones</a:t>
            </a:r>
            <a:r>
              <a:rPr lang="da-DK" sz="2300" dirty="0"/>
              <a:t> </a:t>
            </a:r>
            <a:r>
              <a:rPr lang="da-DK" sz="2300" dirty="0" err="1"/>
              <a:t>includes</a:t>
            </a:r>
            <a:r>
              <a:rPr lang="da-DK" sz="2300" dirty="0"/>
              <a:t> </a:t>
            </a:r>
            <a:r>
              <a:rPr lang="da-DK" sz="2300" dirty="0" err="1"/>
              <a:t>Cypress</a:t>
            </a:r>
            <a:r>
              <a:rPr lang="da-DK" sz="2300" dirty="0"/>
              <a:t> and </a:t>
            </a:r>
            <a:r>
              <a:rPr lang="da-DK" sz="2300" dirty="0" err="1"/>
              <a:t>Playwright</a:t>
            </a:r>
            <a:r>
              <a:rPr lang="en-GB" sz="2300" dirty="0"/>
              <a:t>)</a:t>
            </a:r>
          </a:p>
          <a:p>
            <a:pPr marL="0" indent="0">
              <a:buNone/>
            </a:pPr>
            <a:endParaRPr lang="da-DK" sz="2300" dirty="0"/>
          </a:p>
          <a:p>
            <a:pPr marL="0" indent="0">
              <a:buNone/>
            </a:pPr>
            <a:r>
              <a:rPr lang="da-DK" sz="2300" dirty="0" err="1"/>
              <a:t>Concepts</a:t>
            </a:r>
            <a:r>
              <a:rPr lang="da-DK" sz="2300" dirty="0"/>
              <a:t> </a:t>
            </a:r>
            <a:r>
              <a:rPr lang="da-DK" sz="2300" dirty="0" err="1"/>
              <a:t>needed</a:t>
            </a:r>
            <a:r>
              <a:rPr lang="da-DK" sz="2300" dirty="0"/>
              <a:t> for the workshop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2300" dirty="0" err="1"/>
              <a:t>Behaviour</a:t>
            </a:r>
            <a:r>
              <a:rPr lang="da-DK" sz="2300" dirty="0"/>
              <a:t>-driven </a:t>
            </a:r>
            <a:r>
              <a:rPr lang="da-DK" sz="2300" dirty="0" err="1"/>
              <a:t>testing</a:t>
            </a:r>
            <a:r>
              <a:rPr lang="da-DK" sz="2300" dirty="0"/>
              <a:t> with </a:t>
            </a:r>
            <a:r>
              <a:rPr lang="da-DK" sz="2300" dirty="0" err="1"/>
              <a:t>specs</a:t>
            </a:r>
            <a:r>
              <a:rPr lang="da-DK" sz="2300" dirty="0"/>
              <a:t>, </a:t>
            </a:r>
            <a:r>
              <a:rPr lang="da-DK" sz="2300" dirty="0" err="1"/>
              <a:t>describe</a:t>
            </a:r>
            <a:r>
              <a:rPr lang="da-DK" sz="2300" dirty="0"/>
              <a:t>, 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2300" dirty="0" err="1"/>
              <a:t>TestBed</a:t>
            </a:r>
            <a:endParaRPr lang="da-DK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2300" dirty="0" err="1"/>
              <a:t>beforeEach</a:t>
            </a:r>
            <a:r>
              <a:rPr lang="da-DK" sz="2300" dirty="0"/>
              <a:t>, </a:t>
            </a:r>
            <a:r>
              <a:rPr lang="da-DK" sz="2300" dirty="0" err="1"/>
              <a:t>expect</a:t>
            </a:r>
            <a:r>
              <a:rPr lang="da-DK" sz="2300" dirty="0"/>
              <a:t>, </a:t>
            </a:r>
            <a:r>
              <a:rPr lang="da-DK" sz="2300" dirty="0" err="1"/>
              <a:t>toBe</a:t>
            </a:r>
            <a:endParaRPr lang="da-DK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2300" dirty="0"/>
              <a:t>Fixture, </a:t>
            </a:r>
            <a:r>
              <a:rPr lang="da-DK" sz="2300" dirty="0" err="1"/>
              <a:t>debugElement</a:t>
            </a:r>
            <a:r>
              <a:rPr lang="da-DK" sz="2300" dirty="0"/>
              <a:t>, </a:t>
            </a:r>
            <a:r>
              <a:rPr lang="da-DK" sz="2300" dirty="0" err="1"/>
              <a:t>detectChanges</a:t>
            </a:r>
            <a:r>
              <a:rPr lang="da-DK" sz="2300" dirty="0"/>
              <a:t>, </a:t>
            </a:r>
            <a:r>
              <a:rPr lang="da-DK" sz="2300" dirty="0" err="1"/>
              <a:t>calling</a:t>
            </a:r>
            <a:r>
              <a:rPr lang="da-DK" sz="2300" dirty="0"/>
              <a:t> </a:t>
            </a:r>
            <a:r>
              <a:rPr lang="da-DK" sz="2300" dirty="0" err="1"/>
              <a:t>lifecycle</a:t>
            </a:r>
            <a:r>
              <a:rPr lang="da-DK" sz="2300" dirty="0"/>
              <a:t> hoo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2300" dirty="0" err="1"/>
              <a:t>TestComponent</a:t>
            </a:r>
            <a:r>
              <a:rPr lang="da-DK" sz="2300" dirty="0"/>
              <a:t> to test </a:t>
            </a:r>
            <a:r>
              <a:rPr lang="da-DK" sz="2300" dirty="0" err="1"/>
              <a:t>directives</a:t>
            </a:r>
            <a:endParaRPr lang="da-DK" sz="23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98917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Goal</a:t>
            </a:r>
            <a:r>
              <a:rPr lang="da-DK" dirty="0"/>
              <a:t>: </a:t>
            </a:r>
            <a:r>
              <a:rPr lang="da-DK" dirty="0" err="1"/>
              <a:t>Become</a:t>
            </a:r>
            <a:r>
              <a:rPr lang="da-DK" dirty="0"/>
              <a:t> </a:t>
            </a:r>
            <a:r>
              <a:rPr lang="da-DK" dirty="0" err="1"/>
              <a:t>best</a:t>
            </a:r>
            <a:r>
              <a:rPr lang="da-DK" dirty="0"/>
              <a:t> and </a:t>
            </a:r>
            <a:r>
              <a:rPr lang="da-DK" dirty="0" err="1"/>
              <a:t>coolest</a:t>
            </a:r>
            <a:r>
              <a:rPr lang="da-DK" dirty="0"/>
              <a:t> developer </a:t>
            </a:r>
            <a:r>
              <a:rPr lang="da-DK" dirty="0" err="1"/>
              <a:t>you</a:t>
            </a:r>
            <a:r>
              <a:rPr lang="da-DK" dirty="0"/>
              <a:t> </a:t>
            </a:r>
            <a:r>
              <a:rPr lang="da-DK" dirty="0" err="1"/>
              <a:t>possible</a:t>
            </a:r>
            <a:r>
              <a:rPr lang="da-DK" dirty="0"/>
              <a:t> </a:t>
            </a:r>
            <a:r>
              <a:rPr lang="da-DK" dirty="0" err="1"/>
              <a:t>can</a:t>
            </a:r>
            <a:r>
              <a:rPr lang="da-DK" dirty="0"/>
              <a:t>!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000" dirty="0" err="1"/>
              <a:t>Catch</a:t>
            </a:r>
            <a:r>
              <a:rPr lang="da-DK" sz="4000" dirty="0"/>
              <a:t> up on ‘all’ the rest</a:t>
            </a:r>
            <a:endParaRPr lang="en-GB" sz="4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Box 7"/>
          <p:cNvSpPr txBox="1"/>
          <p:nvPr/>
        </p:nvSpPr>
        <p:spPr>
          <a:xfrm flipH="1">
            <a:off x="432198" y="1411197"/>
            <a:ext cx="5256759" cy="2215991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2400" dirty="0" err="1"/>
              <a:t>Preprocessors</a:t>
            </a:r>
            <a:r>
              <a:rPr lang="da-DK" sz="2400" dirty="0"/>
              <a:t> LESS / SASS</a:t>
            </a:r>
          </a:p>
          <a:p>
            <a:pPr marL="285750" indent="-2857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2400" dirty="0" err="1"/>
              <a:t>ngrx</a:t>
            </a:r>
            <a:r>
              <a:rPr lang="da-DK" sz="2400" dirty="0"/>
              <a:t>/store</a:t>
            </a:r>
          </a:p>
          <a:p>
            <a:pPr marL="285750" indent="-2857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2400" dirty="0" err="1"/>
              <a:t>ControlValueAccessor</a:t>
            </a:r>
            <a:endParaRPr lang="da-DK" sz="2400" dirty="0"/>
          </a:p>
          <a:p>
            <a:pPr marL="285750" indent="-2857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2400" dirty="0" err="1"/>
              <a:t>WebComponents</a:t>
            </a:r>
            <a:endParaRPr lang="da-DK" sz="2400" dirty="0"/>
          </a:p>
        </p:txBody>
      </p:sp>
      <p:sp>
        <p:nvSpPr>
          <p:cNvPr id="9" name="TextBox 8"/>
          <p:cNvSpPr txBox="1"/>
          <p:nvPr/>
        </p:nvSpPr>
        <p:spPr>
          <a:xfrm flipH="1">
            <a:off x="6102198" y="1411197"/>
            <a:ext cx="5256759" cy="2215991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2400"/>
              <a:t>Signals</a:t>
            </a:r>
            <a:endParaRPr lang="da-DK" sz="2400" dirty="0"/>
          </a:p>
          <a:p>
            <a:pPr marL="285750" indent="-2857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2400" dirty="0" err="1"/>
              <a:t>Hostbindings</a:t>
            </a:r>
            <a:r>
              <a:rPr lang="da-DK" sz="2400" dirty="0"/>
              <a:t> and </a:t>
            </a:r>
            <a:r>
              <a:rPr lang="da-DK" sz="2400" dirty="0" err="1"/>
              <a:t>Hostlisteners</a:t>
            </a:r>
            <a:endParaRPr lang="da-DK" sz="2400" dirty="0"/>
          </a:p>
          <a:p>
            <a:pPr marL="285750" indent="-2857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2400" dirty="0"/>
              <a:t>Change </a:t>
            </a:r>
            <a:r>
              <a:rPr lang="da-DK" sz="2400" dirty="0" err="1"/>
              <a:t>detection</a:t>
            </a:r>
            <a:endParaRPr lang="da-DK" sz="2400" dirty="0"/>
          </a:p>
          <a:p>
            <a:pPr marL="285750" indent="-2857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2400" kern="1200" dirty="0" err="1">
                <a:solidFill>
                  <a:schemeClr val="tx1"/>
                </a:solidFill>
              </a:rPr>
              <a:t>ContentChild</a:t>
            </a:r>
            <a:r>
              <a:rPr lang="da-DK" sz="2400" kern="1200" dirty="0">
                <a:solidFill>
                  <a:schemeClr val="tx1"/>
                </a:solidFill>
              </a:rPr>
              <a:t>, </a:t>
            </a:r>
            <a:r>
              <a:rPr lang="da-DK" sz="2400" kern="1200" dirty="0" err="1">
                <a:solidFill>
                  <a:schemeClr val="tx1"/>
                </a:solidFill>
              </a:rPr>
              <a:t>ViewChild</a:t>
            </a:r>
            <a:endParaRPr lang="en-GB" sz="2400" kern="1200" dirty="0" err="1">
              <a:solidFill>
                <a:schemeClr val="tx1"/>
              </a:solidFill>
            </a:endParaRPr>
          </a:p>
        </p:txBody>
      </p:sp>
      <p:pic>
        <p:nvPicPr>
          <p:cNvPr id="10" name="Content Placeholder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919" y="3821870"/>
            <a:ext cx="4932557" cy="2714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1403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Goal</a:t>
            </a:r>
            <a:r>
              <a:rPr lang="da-DK" dirty="0"/>
              <a:t>: </a:t>
            </a:r>
            <a:r>
              <a:rPr lang="da-DK" dirty="0" err="1"/>
              <a:t>Create</a:t>
            </a:r>
            <a:r>
              <a:rPr lang="da-DK" dirty="0"/>
              <a:t> a kick-</a:t>
            </a:r>
            <a:r>
              <a:rPr lang="da-DK" dirty="0" err="1"/>
              <a:t>ass</a:t>
            </a:r>
            <a:r>
              <a:rPr lang="da-DK" dirty="0"/>
              <a:t> </a:t>
            </a:r>
            <a:r>
              <a:rPr lang="da-DK" dirty="0" err="1"/>
              <a:t>reactive</a:t>
            </a:r>
            <a:r>
              <a:rPr lang="da-DK" dirty="0"/>
              <a:t> </a:t>
            </a:r>
            <a:r>
              <a:rPr lang="da-DK" dirty="0" err="1"/>
              <a:t>angular</a:t>
            </a:r>
            <a:r>
              <a:rPr lang="da-DK" dirty="0"/>
              <a:t> </a:t>
            </a:r>
            <a:r>
              <a:rPr lang="da-DK" dirty="0" err="1"/>
              <a:t>application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800" dirty="0"/>
              <a:t>Course Overview</a:t>
            </a:r>
            <a:endParaRPr lang="en-GB" sz="4800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72"/>
          </p:nvPr>
        </p:nvSpPr>
        <p:spPr>
          <a:xfrm>
            <a:off x="432198" y="1522800"/>
            <a:ext cx="11340000" cy="4124021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a-DK" sz="2400" dirty="0">
                <a:sym typeface="Wingdings" panose="05000000000000000000" pitchFamily="2" charset="2"/>
              </a:rPr>
              <a:t>Create a </a:t>
            </a:r>
            <a:r>
              <a:rPr lang="da-DK" sz="2400" dirty="0" err="1">
                <a:sym typeface="Wingdings" panose="05000000000000000000" pitchFamily="2" charset="2"/>
              </a:rPr>
              <a:t>movie</a:t>
            </a:r>
            <a:r>
              <a:rPr lang="da-DK" sz="2400" dirty="0">
                <a:sym typeface="Wingdings" panose="05000000000000000000" pitchFamily="2" charset="2"/>
              </a:rPr>
              <a:t> search application using common Angular concepts.</a:t>
            </a:r>
          </a:p>
          <a:p>
            <a:pPr marL="0" indent="0">
              <a:lnSpc>
                <a:spcPct val="150000"/>
              </a:lnSpc>
              <a:buNone/>
            </a:pPr>
            <a:endParaRPr lang="da-DK" sz="3700" dirty="0">
              <a:sym typeface="Wingdings" panose="05000000000000000000" pitchFamily="2" charset="2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da-DK" sz="3700" dirty="0">
                <a:sym typeface="Wingdings" panose="05000000000000000000" pitchFamily="2" charset="2"/>
              </a:rPr>
              <a:t>Presentation of some Angular concepts</a:t>
            </a:r>
          </a:p>
          <a:p>
            <a:pPr marL="0" indent="0">
              <a:lnSpc>
                <a:spcPct val="150000"/>
              </a:lnSpc>
              <a:buNone/>
            </a:pPr>
            <a:endParaRPr lang="da-DK" sz="3700" dirty="0">
              <a:sym typeface="Wingdings" panose="05000000000000000000" pitchFamily="2" charset="2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da-DK" sz="3700" dirty="0">
                <a:sym typeface="Wingdings" panose="05000000000000000000" pitchFamily="2" charset="2"/>
              </a:rPr>
              <a:t>Put knowledge to use by coding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urved Left Arrow 3"/>
          <p:cNvSpPr/>
          <p:nvPr/>
        </p:nvSpPr>
        <p:spPr>
          <a:xfrm>
            <a:off x="10531642" y="3384884"/>
            <a:ext cx="473242" cy="1820779"/>
          </a:xfrm>
          <a:prstGeom prst="curvedLeftArrow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9" name="Curved Left Arrow 8"/>
          <p:cNvSpPr/>
          <p:nvPr/>
        </p:nvSpPr>
        <p:spPr>
          <a:xfrm flipH="1" flipV="1">
            <a:off x="1227217" y="3384884"/>
            <a:ext cx="497305" cy="1820779"/>
          </a:xfrm>
          <a:prstGeom prst="curvedLeftArrow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204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Learn the </a:t>
            </a:r>
            <a:r>
              <a:rPr lang="da-DK" dirty="0" err="1"/>
              <a:t>ins</a:t>
            </a:r>
            <a:r>
              <a:rPr lang="da-DK" dirty="0"/>
              <a:t>, </a:t>
            </a:r>
            <a:r>
              <a:rPr lang="da-DK" dirty="0" err="1"/>
              <a:t>outs</a:t>
            </a:r>
            <a:r>
              <a:rPr lang="da-DK" dirty="0"/>
              <a:t> and </a:t>
            </a:r>
            <a:r>
              <a:rPr lang="da-DK" dirty="0" err="1"/>
              <a:t>quirks</a:t>
            </a:r>
            <a:r>
              <a:rPr lang="da-DK" dirty="0"/>
              <a:t> of JavaScript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800" dirty="0"/>
              <a:t>JavaScript</a:t>
            </a:r>
            <a:endParaRPr lang="en-GB" sz="4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1900" dirty="0" err="1"/>
              <a:t>Quirks</a:t>
            </a:r>
            <a:endParaRPr lang="da-DK" sz="1900" dirty="0"/>
          </a:p>
          <a:p>
            <a:r>
              <a:rPr lang="da-DK" sz="1900" dirty="0"/>
              <a:t>Looks like </a:t>
            </a:r>
            <a:r>
              <a:rPr lang="da-DK" sz="1900" dirty="0" err="1"/>
              <a:t>known</a:t>
            </a:r>
            <a:r>
              <a:rPr lang="da-DK" sz="1900" dirty="0"/>
              <a:t> </a:t>
            </a:r>
            <a:r>
              <a:rPr lang="da-DK" sz="1900" dirty="0" err="1"/>
              <a:t>languages</a:t>
            </a:r>
            <a:r>
              <a:rPr lang="da-DK" sz="1900" dirty="0"/>
              <a:t> Java, C, C# etc.</a:t>
            </a:r>
          </a:p>
          <a:p>
            <a:r>
              <a:rPr lang="en-US" sz="1900" dirty="0"/>
              <a:t>Numbers are double (64-bit) values, based on the IEEE Standard for Floating-Point Arithmetic (IEEE 754)</a:t>
            </a:r>
          </a:p>
          <a:p>
            <a:r>
              <a:rPr lang="en-US" sz="1900" dirty="0"/>
              <a:t>Not classical object oriented, but uses Prototypal inheritance</a:t>
            </a:r>
          </a:p>
          <a:p>
            <a:r>
              <a:rPr lang="en-US" sz="1900" dirty="0"/>
              <a:t>Closures (“this” keyword) and hoisting</a:t>
            </a:r>
          </a:p>
          <a:p>
            <a:r>
              <a:rPr lang="en-US" sz="1900" dirty="0" err="1"/>
              <a:t>Truthy</a:t>
            </a:r>
            <a:r>
              <a:rPr lang="en-US" sz="1900" dirty="0"/>
              <a:t> </a:t>
            </a:r>
            <a:r>
              <a:rPr lang="en-US" sz="1900" dirty="0" err="1"/>
              <a:t>falsy</a:t>
            </a:r>
            <a:r>
              <a:rPr lang="en-US" sz="1900" dirty="0"/>
              <a:t> and implicit </a:t>
            </a:r>
            <a:r>
              <a:rPr lang="en-US" sz="1900" dirty="0" err="1"/>
              <a:t>boolean</a:t>
            </a:r>
            <a:r>
              <a:rPr lang="en-US" sz="1900" dirty="0"/>
              <a:t> conversion, </a:t>
            </a:r>
            <a:r>
              <a:rPr lang="en-US" sz="1900" dirty="0" err="1">
                <a:hlinkClick r:id="rId3"/>
              </a:rPr>
              <a:t>eqeqeq</a:t>
            </a:r>
            <a:r>
              <a:rPr lang="en-US" sz="1900" dirty="0"/>
              <a:t>, null &amp; undefined</a:t>
            </a:r>
          </a:p>
          <a:p>
            <a:r>
              <a:rPr lang="en-US" sz="1900" dirty="0" err="1"/>
              <a:t>Linting</a:t>
            </a:r>
            <a:r>
              <a:rPr lang="en-US" sz="1900" dirty="0"/>
              <a:t>, Hinting</a:t>
            </a:r>
            <a:endParaRPr lang="da-DK" sz="1900" dirty="0"/>
          </a:p>
          <a:p>
            <a:endParaRPr lang="da-DK" sz="1900" dirty="0"/>
          </a:p>
          <a:p>
            <a:pPr marL="0" indent="0">
              <a:buNone/>
            </a:pPr>
            <a:r>
              <a:rPr lang="da-DK" sz="1900" dirty="0"/>
              <a:t>Array </a:t>
            </a:r>
            <a:r>
              <a:rPr lang="da-DK" sz="1900" dirty="0" err="1"/>
              <a:t>methods</a:t>
            </a:r>
            <a:endParaRPr lang="da-DK" sz="1900" dirty="0"/>
          </a:p>
          <a:p>
            <a:r>
              <a:rPr lang="da-DK" sz="1900" dirty="0" err="1"/>
              <a:t>Indexer</a:t>
            </a:r>
            <a:r>
              <a:rPr lang="da-DK" sz="1900" dirty="0"/>
              <a:t>, </a:t>
            </a:r>
            <a:r>
              <a:rPr lang="da-DK" sz="1900" dirty="0" err="1"/>
              <a:t>forEach</a:t>
            </a:r>
            <a:r>
              <a:rPr lang="da-DK" sz="1900" dirty="0"/>
              <a:t>, pop, push, shift, </a:t>
            </a:r>
            <a:r>
              <a:rPr lang="da-DK" sz="1900" dirty="0" err="1"/>
              <a:t>unshift</a:t>
            </a:r>
            <a:r>
              <a:rPr lang="da-DK" sz="1900" dirty="0"/>
              <a:t>, </a:t>
            </a:r>
            <a:r>
              <a:rPr lang="da-DK" sz="1900" dirty="0" err="1"/>
              <a:t>indexof</a:t>
            </a:r>
            <a:r>
              <a:rPr lang="da-DK" sz="1900" dirty="0"/>
              <a:t>, </a:t>
            </a:r>
            <a:r>
              <a:rPr lang="da-DK" sz="1900" dirty="0" err="1"/>
              <a:t>splice</a:t>
            </a:r>
            <a:r>
              <a:rPr lang="da-DK" sz="1900" dirty="0"/>
              <a:t>, find, </a:t>
            </a:r>
            <a:r>
              <a:rPr lang="da-DK" sz="1900" dirty="0" err="1"/>
              <a:t>concat</a:t>
            </a:r>
            <a:r>
              <a:rPr lang="da-DK" sz="1900" dirty="0"/>
              <a:t>, </a:t>
            </a:r>
            <a:r>
              <a:rPr lang="da-DK" sz="1900" dirty="0" err="1"/>
              <a:t>etc</a:t>
            </a:r>
            <a:endParaRPr lang="da-DK" sz="1900" dirty="0"/>
          </a:p>
          <a:p>
            <a:r>
              <a:rPr lang="da-DK" sz="1900" dirty="0" err="1"/>
              <a:t>Map</a:t>
            </a:r>
            <a:r>
              <a:rPr lang="da-DK" sz="1900" dirty="0"/>
              <a:t>, filter, </a:t>
            </a:r>
            <a:r>
              <a:rPr lang="da-DK" sz="1900" dirty="0" err="1"/>
              <a:t>reduce</a:t>
            </a:r>
            <a:r>
              <a:rPr lang="da-DK" sz="1900" dirty="0"/>
              <a:t>, sort</a:t>
            </a:r>
          </a:p>
          <a:p>
            <a:pPr marL="180000" lvl="1" indent="0">
              <a:buNone/>
            </a:pPr>
            <a:endParaRPr lang="da-DK" sz="1900" dirty="0"/>
          </a:p>
          <a:p>
            <a:pPr marL="0" indent="0">
              <a:buNone/>
            </a:pPr>
            <a:r>
              <a:rPr lang="da-DK" sz="1900" dirty="0" err="1"/>
              <a:t>Functions</a:t>
            </a:r>
            <a:endParaRPr lang="da-DK" sz="1900" dirty="0"/>
          </a:p>
          <a:p>
            <a:r>
              <a:rPr lang="da-DK" sz="1900" dirty="0" err="1"/>
              <a:t>Function</a:t>
            </a:r>
            <a:r>
              <a:rPr lang="da-DK" sz="1900" dirty="0"/>
              <a:t> </a:t>
            </a:r>
            <a:r>
              <a:rPr lang="da-DK" sz="1900" dirty="0" err="1"/>
              <a:t>declaration</a:t>
            </a:r>
            <a:endParaRPr lang="da-DK" sz="1900" dirty="0"/>
          </a:p>
          <a:p>
            <a:r>
              <a:rPr lang="da-DK" sz="1900" dirty="0" err="1"/>
              <a:t>Function</a:t>
            </a:r>
            <a:r>
              <a:rPr lang="da-DK" sz="1900" dirty="0"/>
              <a:t> Expression (</a:t>
            </a:r>
            <a:r>
              <a:rPr lang="da-DK" sz="1900" dirty="0" err="1"/>
              <a:t>named</a:t>
            </a:r>
            <a:r>
              <a:rPr lang="da-DK" sz="1900" dirty="0"/>
              <a:t> and </a:t>
            </a:r>
            <a:r>
              <a:rPr lang="da-DK" sz="1900" dirty="0" err="1"/>
              <a:t>unnamed</a:t>
            </a:r>
            <a:r>
              <a:rPr lang="da-DK" sz="1900" dirty="0"/>
              <a:t>)</a:t>
            </a:r>
          </a:p>
          <a:p>
            <a:r>
              <a:rPr lang="da-DK" sz="1900" dirty="0" err="1"/>
              <a:t>Arrow</a:t>
            </a:r>
            <a:r>
              <a:rPr lang="da-DK" sz="1900" dirty="0"/>
              <a:t> </a:t>
            </a:r>
            <a:r>
              <a:rPr lang="da-DK" sz="1900" dirty="0" err="1"/>
              <a:t>functions</a:t>
            </a:r>
            <a:r>
              <a:rPr lang="da-DK" sz="1900" dirty="0"/>
              <a:t> (fat </a:t>
            </a:r>
            <a:r>
              <a:rPr lang="da-DK" sz="1900" dirty="0" err="1"/>
              <a:t>arrow</a:t>
            </a:r>
            <a:r>
              <a:rPr lang="da-DK" sz="1900" dirty="0"/>
              <a:t>)</a:t>
            </a:r>
            <a:endParaRPr lang="en-GB" sz="19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3474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Learn </a:t>
            </a:r>
            <a:r>
              <a:rPr lang="da-DK" dirty="0" err="1"/>
              <a:t>what</a:t>
            </a:r>
            <a:r>
              <a:rPr lang="da-DK" dirty="0"/>
              <a:t> </a:t>
            </a:r>
            <a:r>
              <a:rPr lang="da-DK" dirty="0" err="1"/>
              <a:t>TypeScript</a:t>
            </a:r>
            <a:r>
              <a:rPr lang="da-DK" dirty="0"/>
              <a:t> </a:t>
            </a:r>
            <a:r>
              <a:rPr lang="da-DK" dirty="0" err="1"/>
              <a:t>can</a:t>
            </a:r>
            <a:r>
              <a:rPr lang="da-DK" dirty="0"/>
              <a:t> do for </a:t>
            </a:r>
            <a:r>
              <a:rPr lang="da-DK" dirty="0" err="1"/>
              <a:t>you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800" dirty="0" err="1"/>
              <a:t>TypeScript</a:t>
            </a:r>
            <a:endParaRPr lang="en-GB" sz="4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1700" dirty="0" err="1"/>
              <a:t>What</a:t>
            </a:r>
            <a:r>
              <a:rPr lang="da-DK" sz="1700" dirty="0"/>
              <a:t> it is</a:t>
            </a:r>
          </a:p>
          <a:p>
            <a:r>
              <a:rPr lang="da-DK" sz="1700" dirty="0"/>
              <a:t>A superset of JavaScript</a:t>
            </a:r>
          </a:p>
          <a:p>
            <a:r>
              <a:rPr lang="da-DK" sz="1700" dirty="0" err="1"/>
              <a:t>Compiles</a:t>
            </a:r>
            <a:r>
              <a:rPr lang="da-DK" sz="1700" dirty="0"/>
              <a:t> to JavaScript</a:t>
            </a:r>
          </a:p>
          <a:p>
            <a:r>
              <a:rPr lang="da-DK" sz="1700" dirty="0"/>
              <a:t>Handles </a:t>
            </a:r>
            <a:r>
              <a:rPr lang="da-DK" sz="1700" dirty="0" err="1"/>
              <a:t>some</a:t>
            </a:r>
            <a:r>
              <a:rPr lang="da-DK" sz="1700" dirty="0"/>
              <a:t> of the </a:t>
            </a:r>
            <a:r>
              <a:rPr lang="da-DK" sz="1700" dirty="0" err="1"/>
              <a:t>quirks</a:t>
            </a:r>
            <a:r>
              <a:rPr lang="da-DK" sz="1700" dirty="0"/>
              <a:t>/</a:t>
            </a:r>
            <a:r>
              <a:rPr lang="da-DK" sz="1700" dirty="0" err="1"/>
              <a:t>errors</a:t>
            </a:r>
            <a:r>
              <a:rPr lang="da-DK" sz="1700" dirty="0"/>
              <a:t> of JavaScript</a:t>
            </a:r>
          </a:p>
          <a:p>
            <a:endParaRPr lang="da-DK" sz="1700" dirty="0"/>
          </a:p>
          <a:p>
            <a:pPr marL="0" indent="0">
              <a:buNone/>
            </a:pPr>
            <a:r>
              <a:rPr lang="da-DK" sz="1700" dirty="0" err="1"/>
              <a:t>Modules</a:t>
            </a:r>
            <a:r>
              <a:rPr lang="da-DK" sz="1700" dirty="0"/>
              <a:t> (</a:t>
            </a:r>
            <a:r>
              <a:rPr lang="da-DK" sz="1700" dirty="0" err="1"/>
              <a:t>mentioned</a:t>
            </a:r>
            <a:r>
              <a:rPr lang="da-DK" sz="1700" dirty="0"/>
              <a:t> </a:t>
            </a:r>
            <a:r>
              <a:rPr lang="da-DK" sz="1700" dirty="0" err="1"/>
              <a:t>here</a:t>
            </a:r>
            <a:r>
              <a:rPr lang="da-DK" sz="1700" dirty="0"/>
              <a:t> </a:t>
            </a:r>
            <a:r>
              <a:rPr lang="da-DK" sz="1700" dirty="0" err="1"/>
              <a:t>even</a:t>
            </a:r>
            <a:r>
              <a:rPr lang="da-DK" sz="1700" dirty="0"/>
              <a:t> </a:t>
            </a:r>
            <a:r>
              <a:rPr lang="da-DK" sz="1700" dirty="0" err="1"/>
              <a:t>though</a:t>
            </a:r>
            <a:r>
              <a:rPr lang="da-DK" sz="1700" dirty="0"/>
              <a:t> </a:t>
            </a:r>
            <a:r>
              <a:rPr lang="da-DK" sz="1700" dirty="0" err="1"/>
              <a:t>it’s</a:t>
            </a:r>
            <a:r>
              <a:rPr lang="da-DK" sz="1700" dirty="0"/>
              <a:t> not typescript </a:t>
            </a:r>
            <a:r>
              <a:rPr lang="da-DK" sz="1700" dirty="0" err="1"/>
              <a:t>specific</a:t>
            </a:r>
            <a:r>
              <a:rPr lang="da-DK" sz="1700"/>
              <a:t>)</a:t>
            </a:r>
            <a:endParaRPr lang="da-DK" sz="17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1700" dirty="0" err="1"/>
              <a:t>Export</a:t>
            </a:r>
            <a:r>
              <a:rPr lang="da-DK" sz="1700" dirty="0"/>
              <a:t> (</a:t>
            </a:r>
            <a:r>
              <a:rPr lang="da-DK" sz="1700" dirty="0" err="1"/>
              <a:t>named</a:t>
            </a:r>
            <a:r>
              <a:rPr lang="da-DK" sz="1700" dirty="0"/>
              <a:t>, default and </a:t>
            </a:r>
            <a:r>
              <a:rPr lang="da-DK" sz="1700" dirty="0" err="1"/>
              <a:t>barrels</a:t>
            </a:r>
            <a:r>
              <a:rPr lang="da-DK" sz="17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1700" dirty="0"/>
              <a:t>Import</a:t>
            </a:r>
          </a:p>
          <a:p>
            <a:pPr marL="0" indent="0">
              <a:buNone/>
            </a:pPr>
            <a:endParaRPr lang="da-DK" sz="1700" dirty="0"/>
          </a:p>
          <a:p>
            <a:pPr marL="0" indent="0">
              <a:buNone/>
            </a:pPr>
            <a:r>
              <a:rPr lang="da-DK" sz="1700" dirty="0"/>
              <a:t>Typing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1700" dirty="0"/>
              <a:t>Types and interfa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a-DK" sz="1700" dirty="0" err="1"/>
              <a:t>Duck-typing</a:t>
            </a:r>
            <a:endParaRPr lang="da-DK" sz="1700" dirty="0"/>
          </a:p>
          <a:p>
            <a:pPr>
              <a:buFont typeface="Arial" panose="020B0604020202020204" pitchFamily="34" charset="0"/>
              <a:buChar char="•"/>
            </a:pPr>
            <a:r>
              <a:rPr lang="da-DK" sz="1700" dirty="0"/>
              <a:t>Type modifiers and ‘</a:t>
            </a:r>
            <a:r>
              <a:rPr lang="da-DK" sz="1700" dirty="0" err="1"/>
              <a:t>any</a:t>
            </a:r>
            <a:r>
              <a:rPr lang="da-DK" sz="1700" dirty="0"/>
              <a:t>’</a:t>
            </a:r>
          </a:p>
          <a:p>
            <a:pPr lvl="1"/>
            <a:endParaRPr lang="da-DK" sz="1700" dirty="0"/>
          </a:p>
          <a:p>
            <a:pPr marL="0" indent="0">
              <a:buNone/>
            </a:pPr>
            <a:r>
              <a:rPr lang="da-DK" sz="1700" dirty="0"/>
              <a:t>Classes</a:t>
            </a:r>
          </a:p>
          <a:p>
            <a:r>
              <a:rPr lang="da-DK" sz="1700" dirty="0" err="1"/>
              <a:t>Implements</a:t>
            </a:r>
            <a:r>
              <a:rPr lang="da-DK" sz="1700" dirty="0"/>
              <a:t> and </a:t>
            </a:r>
            <a:r>
              <a:rPr lang="da-DK" sz="1700" dirty="0" err="1"/>
              <a:t>extends</a:t>
            </a:r>
            <a:endParaRPr lang="da-DK" sz="1700" dirty="0"/>
          </a:p>
          <a:p>
            <a:r>
              <a:rPr lang="da-DK" sz="1700" dirty="0" err="1"/>
              <a:t>Constructor</a:t>
            </a:r>
            <a:endParaRPr lang="da-DK" sz="1700" dirty="0"/>
          </a:p>
          <a:p>
            <a:r>
              <a:rPr lang="da-DK" sz="1700" dirty="0"/>
              <a:t>Access modifier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63916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800" dirty="0" err="1"/>
              <a:t>What</a:t>
            </a:r>
            <a:r>
              <a:rPr lang="da-DK" sz="4800" dirty="0"/>
              <a:t> is </a:t>
            </a:r>
            <a:r>
              <a:rPr lang="da-DK" sz="4800" dirty="0" err="1"/>
              <a:t>Angular</a:t>
            </a:r>
            <a:r>
              <a:rPr lang="da-DK" sz="4800" dirty="0"/>
              <a:t>?</a:t>
            </a:r>
            <a:br>
              <a:rPr lang="da-DK" dirty="0"/>
            </a:br>
            <a:endParaRPr lang="en-GB" sz="14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a-DK" sz="3200" dirty="0"/>
              <a:t>A single-page client application framework and platform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a-DK" sz="3200" dirty="0"/>
              <a:t>Based on TypeScript which in turn is based on JavaScript.</a:t>
            </a:r>
          </a:p>
          <a:p>
            <a:pPr marL="0" indent="0">
              <a:lnSpc>
                <a:spcPct val="150000"/>
              </a:lnSpc>
              <a:buNone/>
            </a:pPr>
            <a:endParaRPr lang="da-DK" sz="3200" dirty="0"/>
          </a:p>
          <a:p>
            <a:pPr marL="0" indent="0">
              <a:lnSpc>
                <a:spcPct val="150000"/>
              </a:lnSpc>
              <a:buNone/>
            </a:pPr>
            <a:r>
              <a:rPr lang="da-DK" sz="3200" dirty="0"/>
              <a:t>Why a framework and not a Library? (React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a-DK" sz="3200" dirty="0"/>
              <a:t>Declarative, Imperative (jQuery), Static rendering (asp.ne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74107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F06C2FB-71AB-9CB4-8DEF-276DC835AC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4383" y="649751"/>
            <a:ext cx="5364301" cy="6004332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</a:t>
            </a:r>
            <a:r>
              <a:rPr lang="da-DK" dirty="0" err="1"/>
              <a:t>Create</a:t>
            </a:r>
            <a:r>
              <a:rPr lang="da-DK" dirty="0"/>
              <a:t> an </a:t>
            </a:r>
            <a:r>
              <a:rPr lang="da-DK" dirty="0" err="1"/>
              <a:t>angular</a:t>
            </a:r>
            <a:r>
              <a:rPr lang="da-DK" dirty="0"/>
              <a:t> </a:t>
            </a:r>
            <a:r>
              <a:rPr lang="da-DK" dirty="0" err="1"/>
              <a:t>application</a:t>
            </a:r>
            <a:r>
              <a:rPr lang="da-DK" dirty="0"/>
              <a:t> </a:t>
            </a:r>
            <a:r>
              <a:rPr lang="da-DK" dirty="0" err="1"/>
              <a:t>showing</a:t>
            </a:r>
            <a:r>
              <a:rPr lang="da-DK" dirty="0"/>
              <a:t> a list of </a:t>
            </a:r>
            <a:r>
              <a:rPr lang="da-DK" dirty="0" err="1"/>
              <a:t>movie</a:t>
            </a:r>
            <a:r>
              <a:rPr lang="da-DK" dirty="0"/>
              <a:t> images (with </a:t>
            </a:r>
            <a:r>
              <a:rPr lang="da-DK" dirty="0" err="1"/>
              <a:t>hardcoded</a:t>
            </a:r>
            <a:r>
              <a:rPr lang="da-DK" dirty="0"/>
              <a:t> data)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000" dirty="0" err="1"/>
              <a:t>Hands-on</a:t>
            </a:r>
            <a:r>
              <a:rPr lang="da-DK" sz="4000" dirty="0"/>
              <a:t>: MVP</a:t>
            </a:r>
            <a:endParaRPr lang="en-GB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>
          <a:xfrm>
            <a:off x="432198" y="1522800"/>
            <a:ext cx="5744013" cy="4878000"/>
          </a:xfrm>
        </p:spPr>
        <p:txBody>
          <a:bodyPr/>
          <a:lstStyle/>
          <a:p>
            <a:pPr marL="0" indent="0">
              <a:buNone/>
            </a:pPr>
            <a:r>
              <a:rPr lang="da-DK" sz="2000" dirty="0"/>
              <a:t>Angular CLI</a:t>
            </a:r>
          </a:p>
          <a:p>
            <a:pPr marL="0" indent="0">
              <a:buNone/>
            </a:pPr>
            <a:r>
              <a:rPr lang="da-DK" sz="1800" dirty="0" err="1"/>
              <a:t>Creates</a:t>
            </a:r>
            <a:r>
              <a:rPr lang="da-DK" sz="1800" dirty="0"/>
              <a:t> new </a:t>
            </a:r>
            <a:r>
              <a:rPr lang="da-DK" sz="1800" dirty="0" err="1"/>
              <a:t>project</a:t>
            </a:r>
            <a:endParaRPr lang="da-DK" sz="1800" dirty="0"/>
          </a:p>
          <a:p>
            <a:pPr marL="0" indent="0">
              <a:buNone/>
            </a:pPr>
            <a:r>
              <a:rPr lang="da-DK" sz="1800" dirty="0"/>
              <a:t>Can add and do initial configure of new modules, components, services, etc.</a:t>
            </a:r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r>
              <a:rPr lang="da-DK" sz="2400" dirty="0"/>
              <a:t>Project structure</a:t>
            </a:r>
          </a:p>
          <a:p>
            <a:pPr marL="0" indent="0">
              <a:buNone/>
            </a:pPr>
            <a:r>
              <a:rPr lang="da-DK" sz="1800" dirty="0"/>
              <a:t>(index.html, main.ts, styles.css*, app.module.ts, app.component.ts)</a:t>
            </a:r>
          </a:p>
          <a:p>
            <a:pPr marL="0" indent="0">
              <a:buNone/>
            </a:pPr>
            <a:r>
              <a:rPr lang="da-DK" sz="1800" dirty="0"/>
              <a:t>Builds to an index.html, css files, js files, assets folder(s).</a:t>
            </a:r>
          </a:p>
          <a:p>
            <a:pPr marL="0" indent="0">
              <a:buNone/>
            </a:pPr>
            <a:endParaRPr lang="da-DK" sz="2000" dirty="0"/>
          </a:p>
          <a:p>
            <a:pPr marL="0" indent="0">
              <a:buNone/>
            </a:pPr>
            <a:r>
              <a:rPr lang="da-DK" sz="2000" dirty="0"/>
              <a:t>Property binding</a:t>
            </a:r>
          </a:p>
          <a:p>
            <a:pPr marL="0" indent="0">
              <a:buNone/>
            </a:pPr>
            <a:r>
              <a:rPr lang="da-DK" sz="1800" dirty="0"/>
              <a:t>Single property binding</a:t>
            </a:r>
          </a:p>
          <a:p>
            <a:pPr marL="0" indent="0">
              <a:buNone/>
            </a:pPr>
            <a:r>
              <a:rPr lang="da-DK" sz="1800" dirty="0"/>
              <a:t>Structual directives</a:t>
            </a:r>
          </a:p>
          <a:p>
            <a:pPr marL="0" indent="0">
              <a:buNone/>
            </a:pPr>
            <a:r>
              <a:rPr lang="da-DK" sz="1800" dirty="0"/>
              <a:t>Official Angular guide at </a:t>
            </a:r>
            <a:r>
              <a:rPr lang="da-DK" sz="1800" dirty="0">
                <a:hlinkClick r:id="rId4"/>
              </a:rPr>
              <a:t>https://angular.io</a:t>
            </a:r>
            <a:endParaRPr lang="da-DK" sz="1800" dirty="0"/>
          </a:p>
          <a:p>
            <a:pPr marL="180000" lvl="1" indent="0">
              <a:buNone/>
            </a:pPr>
            <a:endParaRPr lang="da-DK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58386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Split the </a:t>
            </a:r>
            <a:r>
              <a:rPr lang="da-DK" dirty="0" err="1"/>
              <a:t>application</a:t>
            </a:r>
            <a:r>
              <a:rPr lang="da-DK" dirty="0"/>
              <a:t> </a:t>
            </a:r>
            <a:r>
              <a:rPr lang="da-DK" dirty="0" err="1"/>
              <a:t>into</a:t>
            </a:r>
            <a:r>
              <a:rPr lang="da-DK" dirty="0"/>
              <a:t> </a:t>
            </a:r>
            <a:r>
              <a:rPr lang="da-DK" dirty="0" err="1"/>
              <a:t>several</a:t>
            </a:r>
            <a:r>
              <a:rPr lang="da-DK" dirty="0"/>
              <a:t> component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000" dirty="0" err="1"/>
              <a:t>Hands-on</a:t>
            </a:r>
            <a:r>
              <a:rPr lang="da-DK" sz="4000" dirty="0"/>
              <a:t>: Components</a:t>
            </a:r>
            <a:endParaRPr lang="en-GB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>
          <a:xfrm>
            <a:off x="432198" y="1534374"/>
            <a:ext cx="5166497" cy="4878000"/>
          </a:xfrm>
        </p:spPr>
        <p:txBody>
          <a:bodyPr/>
          <a:lstStyle/>
          <a:p>
            <a:pPr marL="0" indent="0">
              <a:buNone/>
            </a:pPr>
            <a:r>
              <a:rPr lang="da-DK" sz="2000" dirty="0" err="1"/>
              <a:t>What</a:t>
            </a:r>
            <a:r>
              <a:rPr lang="da-DK" sz="2000" dirty="0"/>
              <a:t> </a:t>
            </a:r>
            <a:r>
              <a:rPr lang="da-DK" sz="2000" dirty="0" err="1"/>
              <a:t>are</a:t>
            </a:r>
            <a:r>
              <a:rPr lang="da-DK" sz="2000" dirty="0"/>
              <a:t> components?</a:t>
            </a:r>
          </a:p>
          <a:p>
            <a:r>
              <a:rPr lang="da-DK" sz="1800" dirty="0"/>
              <a:t>Controls a patch of the screen</a:t>
            </a:r>
          </a:p>
          <a:p>
            <a:r>
              <a:rPr lang="da-DK" sz="1800" dirty="0"/>
              <a:t>Self contained</a:t>
            </a:r>
          </a:p>
          <a:p>
            <a:r>
              <a:rPr lang="da-DK" sz="1800" dirty="0" err="1"/>
              <a:t>Reusable</a:t>
            </a:r>
            <a:endParaRPr lang="da-DK" sz="1800" dirty="0"/>
          </a:p>
          <a:p>
            <a:r>
              <a:rPr lang="da-DK" sz="1800" dirty="0"/>
              <a:t>Can </a:t>
            </a:r>
            <a:r>
              <a:rPr lang="da-DK" sz="1800" dirty="0" err="1"/>
              <a:t>belong</a:t>
            </a:r>
            <a:r>
              <a:rPr lang="da-DK" sz="1800" dirty="0"/>
              <a:t> to a </a:t>
            </a:r>
            <a:r>
              <a:rPr lang="da-DK" sz="1800" dirty="0" err="1"/>
              <a:t>module</a:t>
            </a:r>
            <a:r>
              <a:rPr lang="da-DK" sz="1800" dirty="0"/>
              <a:t> – or </a:t>
            </a:r>
            <a:r>
              <a:rPr lang="da-DK" sz="1800" dirty="0" err="1"/>
              <a:t>be</a:t>
            </a:r>
            <a:r>
              <a:rPr lang="da-DK" sz="1800" dirty="0"/>
              <a:t> </a:t>
            </a:r>
            <a:r>
              <a:rPr lang="da-DK" sz="1800" dirty="0" err="1"/>
              <a:t>standalone</a:t>
            </a:r>
            <a:endParaRPr lang="da-DK" sz="1800" dirty="0"/>
          </a:p>
          <a:p>
            <a:r>
              <a:rPr lang="da-DK" sz="1800" dirty="0"/>
              <a:t>Meta data </a:t>
            </a:r>
          </a:p>
          <a:p>
            <a:endParaRPr lang="da-DK" sz="2000" dirty="0"/>
          </a:p>
          <a:p>
            <a:pPr marL="0" indent="0">
              <a:buNone/>
            </a:pPr>
            <a:r>
              <a:rPr lang="da-DK" sz="2000" dirty="0"/>
              <a:t>Lifecycle</a:t>
            </a:r>
          </a:p>
          <a:p>
            <a:pPr marL="0" indent="0">
              <a:buNone/>
            </a:pPr>
            <a:r>
              <a:rPr lang="en-GB" sz="1800" dirty="0" err="1"/>
              <a:t>ngOnChanges</a:t>
            </a:r>
            <a:r>
              <a:rPr lang="en-GB" sz="1800" dirty="0"/>
              <a:t>*, </a:t>
            </a:r>
            <a:r>
              <a:rPr lang="en-GB" sz="1800" b="1" dirty="0" err="1"/>
              <a:t>ngOnInit</a:t>
            </a:r>
            <a:r>
              <a:rPr lang="en-GB" sz="1800" dirty="0"/>
              <a:t>, </a:t>
            </a:r>
            <a:r>
              <a:rPr lang="en-GB" sz="1800" dirty="0" err="1"/>
              <a:t>ngDoCheck</a:t>
            </a:r>
            <a:r>
              <a:rPr lang="en-GB" sz="1800" dirty="0"/>
              <a:t>*, </a:t>
            </a:r>
            <a:r>
              <a:rPr lang="en-GB" sz="1800" dirty="0" err="1"/>
              <a:t>ngAfterContentInit</a:t>
            </a:r>
            <a:r>
              <a:rPr lang="en-GB" sz="1800" dirty="0"/>
              <a:t>, </a:t>
            </a:r>
            <a:r>
              <a:rPr lang="en-GB" sz="1800" dirty="0" err="1"/>
              <a:t>ngAfterContentChecked</a:t>
            </a:r>
            <a:r>
              <a:rPr lang="en-GB" sz="1800" dirty="0"/>
              <a:t>*, </a:t>
            </a:r>
            <a:r>
              <a:rPr lang="en-GB" sz="1800" dirty="0" err="1"/>
              <a:t>ngAfterViewInit</a:t>
            </a:r>
            <a:r>
              <a:rPr lang="en-GB" sz="1800" dirty="0"/>
              <a:t>, </a:t>
            </a:r>
            <a:r>
              <a:rPr lang="en-GB" sz="1800" dirty="0" err="1"/>
              <a:t>ngAfterViewChecked</a:t>
            </a:r>
            <a:r>
              <a:rPr lang="en-GB" sz="1800" dirty="0"/>
              <a:t>*, </a:t>
            </a:r>
            <a:r>
              <a:rPr lang="en-GB" sz="1800" b="1" dirty="0" err="1"/>
              <a:t>ngOnDestroy</a:t>
            </a:r>
            <a:endParaRPr lang="da-DK" sz="1800" b="1" dirty="0"/>
          </a:p>
          <a:p>
            <a:endParaRPr lang="da-DK" sz="2000" dirty="0"/>
          </a:p>
          <a:p>
            <a:pPr marL="0" indent="0">
              <a:buNone/>
            </a:pPr>
            <a:r>
              <a:rPr lang="da-DK" sz="2000" dirty="0"/>
              <a:t>Splitting app/component into sub components</a:t>
            </a:r>
          </a:p>
          <a:p>
            <a:r>
              <a:rPr lang="da-DK" sz="1800" dirty="0" err="1"/>
              <a:t>Reusability</a:t>
            </a:r>
            <a:endParaRPr lang="da-DK" sz="1800" dirty="0"/>
          </a:p>
          <a:p>
            <a:r>
              <a:rPr lang="da-DK" sz="1800" dirty="0"/>
              <a:t>SRP</a:t>
            </a:r>
          </a:p>
          <a:p>
            <a:r>
              <a:rPr lang="da-DK" sz="1800" dirty="0" err="1"/>
              <a:t>Leverage</a:t>
            </a:r>
            <a:r>
              <a:rPr lang="da-DK" sz="1800" dirty="0"/>
              <a:t> </a:t>
            </a:r>
            <a:r>
              <a:rPr lang="da-DK" sz="1800" dirty="0" err="1"/>
              <a:t>structural</a:t>
            </a:r>
            <a:r>
              <a:rPr lang="da-DK" sz="1800" dirty="0"/>
              <a:t> </a:t>
            </a:r>
            <a:r>
              <a:rPr lang="da-DK" sz="1800" dirty="0" err="1"/>
              <a:t>directives</a:t>
            </a:r>
            <a:endParaRPr lang="da-DK" sz="1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2D9FB4-FA5C-BBD7-E424-840E761E52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4244" y="3973374"/>
            <a:ext cx="4586715" cy="25465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35D364E-05F5-BA18-D8CA-32C1C230E6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4244" y="1488647"/>
            <a:ext cx="4859878" cy="2078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9599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</a:t>
            </a:r>
            <a:r>
              <a:rPr lang="da-DK" dirty="0" err="1"/>
              <a:t>Introduce</a:t>
            </a:r>
            <a:r>
              <a:rPr lang="da-DK" dirty="0"/>
              <a:t> DI and </a:t>
            </a:r>
            <a:r>
              <a:rPr lang="da-DK" dirty="0" err="1"/>
              <a:t>move</a:t>
            </a:r>
            <a:r>
              <a:rPr lang="da-DK" dirty="0"/>
              <a:t> data </a:t>
            </a:r>
            <a:r>
              <a:rPr lang="da-DK" dirty="0" err="1"/>
              <a:t>fetching</a:t>
            </a:r>
            <a:r>
              <a:rPr lang="da-DK" dirty="0"/>
              <a:t> </a:t>
            </a:r>
            <a:r>
              <a:rPr lang="da-DK" dirty="0" err="1"/>
              <a:t>functionality</a:t>
            </a:r>
            <a:r>
              <a:rPr lang="da-DK" dirty="0"/>
              <a:t> </a:t>
            </a:r>
            <a:r>
              <a:rPr lang="da-DK" dirty="0" err="1"/>
              <a:t>into</a:t>
            </a:r>
            <a:r>
              <a:rPr lang="da-DK" dirty="0"/>
              <a:t> a servic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000" dirty="0"/>
              <a:t>Hands-on: Services and Dependency Injection</a:t>
            </a:r>
            <a:endParaRPr lang="en-GB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>
          <a:xfrm>
            <a:off x="432198" y="1522800"/>
            <a:ext cx="5583591" cy="48780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a-DK" sz="2400" dirty="0"/>
              <a:t>Constructor injection</a:t>
            </a:r>
          </a:p>
          <a:p>
            <a:pPr>
              <a:lnSpc>
                <a:spcPct val="150000"/>
              </a:lnSpc>
            </a:pPr>
            <a:r>
              <a:rPr lang="da-DK" sz="2400" dirty="0"/>
              <a:t>useClass, useValue, useFactory</a:t>
            </a:r>
          </a:p>
          <a:p>
            <a:pPr>
              <a:lnSpc>
                <a:spcPct val="150000"/>
              </a:lnSpc>
            </a:pPr>
            <a:r>
              <a:rPr lang="da-DK" sz="2400" dirty="0" err="1"/>
              <a:t>provideIn</a:t>
            </a:r>
            <a:r>
              <a:rPr lang="da-DK" sz="2400" dirty="0"/>
              <a:t> vs. module import</a:t>
            </a:r>
          </a:p>
          <a:p>
            <a:pPr>
              <a:lnSpc>
                <a:spcPct val="150000"/>
              </a:lnSpc>
            </a:pPr>
            <a:r>
              <a:rPr lang="da-DK" sz="2400" dirty="0"/>
              <a:t>@Injectab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3627" y="1644635"/>
            <a:ext cx="1981200" cy="13430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3627" y="3577895"/>
            <a:ext cx="3181350" cy="15621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8" name="Ink 7"/>
              <p14:cNvContentPartPr/>
              <p14:nvPr/>
            </p14:nvContentPartPr>
            <p14:xfrm>
              <a:off x="9377109" y="4278941"/>
              <a:ext cx="745920" cy="44640"/>
            </p14:xfrm>
          </p:contentPart>
        </mc:Choice>
        <mc:Fallback xmlns="">
          <p:pic>
            <p:nvPicPr>
              <p:cNvPr id="8" name="Ink 7"/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328869" y="4182821"/>
                <a:ext cx="842040" cy="236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9" name="Ink 8"/>
              <p14:cNvContentPartPr/>
              <p14:nvPr/>
            </p14:nvContentPartPr>
            <p14:xfrm>
              <a:off x="8374509" y="2408021"/>
              <a:ext cx="721800" cy="30600"/>
            </p14:xfrm>
          </p:contentPart>
        </mc:Choice>
        <mc:Fallback xmlns="">
          <p:pic>
            <p:nvPicPr>
              <p:cNvPr id="9" name="Ink 8"/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326269" y="2311901"/>
                <a:ext cx="817920" cy="222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46793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da-DK" dirty="0" err="1"/>
              <a:t>Subgoal</a:t>
            </a:r>
            <a:r>
              <a:rPr lang="da-DK" dirty="0"/>
              <a:t>: </a:t>
            </a:r>
            <a:r>
              <a:rPr lang="da-DK" dirty="0" err="1"/>
              <a:t>Create</a:t>
            </a:r>
            <a:r>
              <a:rPr lang="da-DK" dirty="0"/>
              <a:t> a </a:t>
            </a:r>
            <a:r>
              <a:rPr lang="da-DK" dirty="0" err="1"/>
              <a:t>pipe</a:t>
            </a:r>
            <a:r>
              <a:rPr lang="da-DK" dirty="0"/>
              <a:t> to </a:t>
            </a:r>
            <a:r>
              <a:rPr lang="da-DK" dirty="0" err="1"/>
              <a:t>demonstrate</a:t>
            </a:r>
            <a:r>
              <a:rPr lang="da-DK" dirty="0"/>
              <a:t> simple formatting</a:t>
            </a:r>
          </a:p>
          <a:p>
            <a:endParaRPr lang="da-DK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4800" dirty="0" err="1"/>
              <a:t>Pipes</a:t>
            </a:r>
            <a:endParaRPr lang="en-GB" sz="4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7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Angular pipes, a way to write display-value chainable transformations that you can declare in your HTML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Built-in pip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Date pip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Uppercase pipe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Concep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Custom pip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Transformations like map and filt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Can be used in @for and @if as well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Change detection: pure (with input) or impure</a:t>
            </a:r>
            <a:endParaRPr lang="en-GB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9015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IO_CHANGETRACKING" val="true"/>
  <p:tag name="SMART" val="&lt;smart xmlns:xsd=&quot;http://www.w3.org/2001/XMLSchema&quot; xmlns:xsi=&quot;http://www.w3.org/2001/XMLSchema-instance&quot;&gt;&lt;presentationSettings hasLibraryLinks=&quot;false&quot; lastModified=&quot;2023-10-02T06:48:54.4286886Z&quot;&gt;&lt;agenda createSections=&quot;false&quot; enableNavigation=&quot;false&quot; id=&quot;e611804b-8c91-4f46-aa8a-8357316b479c&quot; isTouched=&quot;false&quot; mode=&quot;Agenda&quot; showDuration=&quot;false&quot; showHeaders=&quot;false&quot; showPageNumber=&quot;false&quot; showResponsible=&quot;false&quot; showSubTopics=&quot;false&quot; showTimeSlot=&quot;false&quot; showTopicNumber=&quot;false&quot; slidesForSubTopics=&quot;false&quot; timeFormat=&quot;00000000-0000-0000-0000-000000000000&quot; title=&quot;Agenda&quot;&gt;&lt;columns&gt;&lt;column displayIndex=&quot;0&quot; header=&quot;#&quot; id=&quot;8fc7e105-5a32-4a72-bc85-7d3ff1e7b9d7&quot; visible=&quot;true&quot; width=&quot;170&quot; /&gt;&lt;column displayIndex=&quot;1&quot; header=&quot;Topic&quot; id=&quot;8f81a0ad-7497-4bbb-a001-838bad8c0faa&quot; visible=&quot;true&quot; width=&quot;160&quot; /&gt;&lt;column displayIndex=&quot;2&quot; header=&quot;Responsible&quot; id=&quot;2f9b06db-11e3-45bc-aecb-cf6141b9856b&quot; visible=&quot;true&quot; width=&quot;165&quot; /&gt;&lt;column displayIndex=&quot;3&quot; header=&quot;Duration&quot; id=&quot;99d05e97-02f5-4087-be8e-b10736e0c9ca&quot; visible=&quot;true&quot; width=&quot;150&quot; /&gt;&lt;column displayIndex=&quot;4&quot; header=&quot;Time&quot; id=&quot;fd356bfd-687f-40e8-b861-574837edbc46&quot; visible=&quot;true&quot; width=&quot;180&quot; /&gt;&lt;column displayIndex=&quot;5&quot; header=&quot;Page&quot; id=&quot;db91063f-fada-4f32-86c9-9368cd93fa26&quot; visible=&quot;true&quot; width=&quot;170&quot; /&gt;&lt;/columns&gt;&lt;layout /&gt;&lt;rows /&gt;&lt;/agenda&gt;&lt;template lastModified=&quot;0001-01-01T00:00:00&quot;&gt;&lt;LayoutNames /&gt;&lt;/template&gt;&lt;theme&gt;&lt;recentColors /&gt;&lt;/theme&gt;&lt;rules&gt;&lt;disabled /&gt;&lt;/rules&gt;&lt;/presentationSettings&gt;&lt;/smar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b7585df3-d7c4-4e63-b864-ecaca7d8ec0d"/>
  <p:tag name="MIO_UPDATE" val="True"/>
  <p:tag name="MIO_VERSION" val="06.08.2018 19:07:46"/>
  <p:tag name="MIO_DBID" val="5D9FD29E-BEEC-40D7-BFBE-407D9085DE5F"/>
  <p:tag name="MIO_LASTDOWNLOADED" val="22.08.2018 16:03:16"/>
  <p:tag name="MIO_OBJECTNAME" val="Danske Bank"/>
  <p:tag name="MIO_LASTEDITORNAME" val="Daniel J"/>
  <p:tag name="MIO_CDID" val="36049262-a2dc-48ca-9f47-69cada2ed734"/>
</p:tagLst>
</file>

<file path=ppt/theme/theme1.xml><?xml version="1.0" encoding="utf-8"?>
<a:theme xmlns:a="http://schemas.openxmlformats.org/drawingml/2006/main" name="Widerscreen - Danske Bank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6350" cap="rnd">
          <a:noFill/>
          <a:round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rgbClr val="003755"/>
          </a:buCl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003755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rnd">
          <a:noFill/>
        </a:ln>
      </a:spPr>
      <a:bodyPr wrap="non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buClr>
            <a:schemeClr val="accent1"/>
          </a:buClr>
          <a:buFont typeface="Danske Text" panose="00000400000000000000" pitchFamily="2" charset="0"/>
          <a:buNone/>
          <a:defRPr sz="14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AFC8D8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D4E1EA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Danske Bank" id="{27E566EB-6EFF-4CBB-B0C7-3A2796667E3E}" vid="{647BE088-D859-40F4-8516-599BF59B12E7}"/>
    </a:ext>
  </a:extLst>
</a:theme>
</file>

<file path=ppt/theme/theme2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AFC8D8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D4E1EA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E5EBEE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E5EBEE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AC2275C336634A8785D9151A32F889" ma:contentTypeVersion="0" ma:contentTypeDescription="Create a new document." ma:contentTypeScope="" ma:versionID="837daaafbd83eedeca0c65dc8fc2cde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A1F4691-3D0B-46F3-ABD2-D23E867863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50F12B2-43B9-46CD-B1CE-F17D45ACBA44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E3DE5E0-CD50-45D4-BA8C-74BAF66765D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98065023-a506-47de-8e1d-aea5498cc974}" enabled="1" method="Privileged" siteId="{c7d1b6e9-1447-457b-9223-ac25df4941b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76</TotalTime>
  <Words>1390</Words>
  <Application>Microsoft Office PowerPoint</Application>
  <PresentationFormat>Widescreen</PresentationFormat>
  <Paragraphs>247</Paragraphs>
  <Slides>17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Danske Human Medium Italic</vt:lpstr>
      <vt:lpstr>Danske Text</vt:lpstr>
      <vt:lpstr>Roboto</vt:lpstr>
      <vt:lpstr>Wingdings</vt:lpstr>
      <vt:lpstr>Widerscreen - Danske Bank</vt:lpstr>
      <vt:lpstr>Introductory Angular and React course </vt:lpstr>
      <vt:lpstr>Course Overview</vt:lpstr>
      <vt:lpstr>JavaScript</vt:lpstr>
      <vt:lpstr>TypeScript</vt:lpstr>
      <vt:lpstr>What is Angular? </vt:lpstr>
      <vt:lpstr>Hands-on: MVP</vt:lpstr>
      <vt:lpstr>Hands-on: Components</vt:lpstr>
      <vt:lpstr>Hands-on: Services and Dependency Injection</vt:lpstr>
      <vt:lpstr>Pipes</vt:lpstr>
      <vt:lpstr>Hands-on: Observables</vt:lpstr>
      <vt:lpstr>Hands-on: User input and advanced Observables</vt:lpstr>
      <vt:lpstr>Hands-on: Routing</vt:lpstr>
      <vt:lpstr>Hands-on: Animations</vt:lpstr>
      <vt:lpstr>Directives</vt:lpstr>
      <vt:lpstr>Form validation</vt:lpstr>
      <vt:lpstr>Automated Testing</vt:lpstr>
      <vt:lpstr>Catch up on ‘all’ the rest</vt:lpstr>
    </vt:vector>
  </TitlesOfParts>
  <Company>Danske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HOR@danskebank.dk</dc:creator>
  <cp:keywords>Angular</cp:keywords>
  <cp:lastModifiedBy>Per Hornshøj-Schierbeck</cp:lastModifiedBy>
  <cp:revision>136</cp:revision>
  <cp:lastPrinted>2018-01-17T12:59:53Z</cp:lastPrinted>
  <dcterms:created xsi:type="dcterms:W3CDTF">2018-05-22T06:24:24Z</dcterms:created>
  <dcterms:modified xsi:type="dcterms:W3CDTF">2024-03-22T10:49:21Z</dcterms:modified>
  <cp:category>Interns, TalentBoxer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AC2275C336634A8785D9151A32F889</vt:lpwstr>
  </property>
  <property fmtid="{D5CDD505-2E9C-101B-9397-08002B2CF9AE}" pid="3" name="MSIP_Label_98065023-a506-47de-8e1d-aea5498cc974_Enabled">
    <vt:lpwstr>true</vt:lpwstr>
  </property>
  <property fmtid="{D5CDD505-2E9C-101B-9397-08002B2CF9AE}" pid="4" name="MSIP_Label_98065023-a506-47de-8e1d-aea5498cc974_SetDate">
    <vt:lpwstr>2023-06-01T13:10:36Z</vt:lpwstr>
  </property>
  <property fmtid="{D5CDD505-2E9C-101B-9397-08002B2CF9AE}" pid="5" name="MSIP_Label_98065023-a506-47de-8e1d-aea5498cc974_Method">
    <vt:lpwstr>Privileged</vt:lpwstr>
  </property>
  <property fmtid="{D5CDD505-2E9C-101B-9397-08002B2CF9AE}" pid="6" name="MSIP_Label_98065023-a506-47de-8e1d-aea5498cc974_Name">
    <vt:lpwstr>Internal</vt:lpwstr>
  </property>
  <property fmtid="{D5CDD505-2E9C-101B-9397-08002B2CF9AE}" pid="7" name="MSIP_Label_98065023-a506-47de-8e1d-aea5498cc974_SiteId">
    <vt:lpwstr>c7d1b6e9-1447-457b-9223-ac25df4941bf</vt:lpwstr>
  </property>
  <property fmtid="{D5CDD505-2E9C-101B-9397-08002B2CF9AE}" pid="8" name="MSIP_Label_98065023-a506-47de-8e1d-aea5498cc974_ActionId">
    <vt:lpwstr>6735591d-d89b-4649-9d4c-5c4bfda6d779</vt:lpwstr>
  </property>
  <property fmtid="{D5CDD505-2E9C-101B-9397-08002B2CF9AE}" pid="9" name="MSIP_Label_98065023-a506-47de-8e1d-aea5498cc974_ContentBits">
    <vt:lpwstr>0</vt:lpwstr>
  </property>
</Properties>
</file>